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media/image27.jpg" ContentType="image/jpg"/>
  <Override PartName="/ppt/media/image29.jpg" ContentType="image/jpg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4"/>
    <p:sldMasterId id="2147483848" r:id="rId5"/>
    <p:sldMasterId id="2147483812" r:id="rId6"/>
  </p:sldMasterIdLst>
  <p:notesMasterIdLst>
    <p:notesMasterId r:id="rId27"/>
  </p:notesMasterIdLst>
  <p:handoutMasterIdLst>
    <p:handoutMasterId r:id="rId28"/>
  </p:handoutMasterIdLst>
  <p:sldIdLst>
    <p:sldId id="844" r:id="rId7"/>
    <p:sldId id="793" r:id="rId8"/>
    <p:sldId id="826" r:id="rId9"/>
    <p:sldId id="827" r:id="rId10"/>
    <p:sldId id="828" r:id="rId11"/>
    <p:sldId id="830" r:id="rId12"/>
    <p:sldId id="831" r:id="rId13"/>
    <p:sldId id="832" r:id="rId14"/>
    <p:sldId id="833" r:id="rId15"/>
    <p:sldId id="840" r:id="rId16"/>
    <p:sldId id="846" r:id="rId17"/>
    <p:sldId id="834" r:id="rId18"/>
    <p:sldId id="835" r:id="rId19"/>
    <p:sldId id="839" r:id="rId20"/>
    <p:sldId id="836" r:id="rId21"/>
    <p:sldId id="837" r:id="rId22"/>
    <p:sldId id="838" r:id="rId23"/>
    <p:sldId id="841" r:id="rId24"/>
    <p:sldId id="842" r:id="rId25"/>
    <p:sldId id="843" r:id="rId26"/>
  </p:sldIdLst>
  <p:sldSz cx="12192000" cy="6858000"/>
  <p:notesSz cx="6858000" cy="9144000"/>
  <p:embeddedFontLst>
    <p:embeddedFont>
      <p:font typeface="Trebuchet MS" panose="020B0603020202020204" pitchFamily="34" charset="0"/>
      <p:regular r:id="rId29"/>
      <p:bold r:id="rId30"/>
      <p:italic r:id="rId31"/>
      <p:boldItalic r:id="rId32"/>
    </p:embeddedFont>
    <p:embeddedFont>
      <p:font typeface="UKCEH Suisse" panose="020B0604020202020204" charset="-78"/>
      <p:regular r:id="rId33"/>
      <p:bold r:id="rId34"/>
      <p:italic r:id="rId35"/>
    </p:embeddedFont>
    <p:embeddedFont>
      <p:font typeface="UKCEH Suisse Medium" panose="020B0604020202020204" charset="-78"/>
      <p:regular r:id="rId36"/>
    </p:embeddedFont>
    <p:embeddedFont>
      <p:font typeface="UKCEH Suisse Semibold" panose="020B0604020202020204" charset="-78"/>
      <p:bold r:id="rId37"/>
    </p:embeddedFont>
  </p:embeddedFontLst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A012E5B-4ECA-45EC-AE2F-8F8AE021CDC4}">
          <p14:sldIdLst>
            <p14:sldId id="844"/>
            <p14:sldId id="793"/>
            <p14:sldId id="826"/>
            <p14:sldId id="827"/>
            <p14:sldId id="828"/>
            <p14:sldId id="830"/>
            <p14:sldId id="831"/>
            <p14:sldId id="832"/>
            <p14:sldId id="833"/>
            <p14:sldId id="840"/>
            <p14:sldId id="846"/>
            <p14:sldId id="834"/>
            <p14:sldId id="835"/>
            <p14:sldId id="839"/>
            <p14:sldId id="836"/>
            <p14:sldId id="837"/>
            <p14:sldId id="838"/>
            <p14:sldId id="841"/>
            <p14:sldId id="842"/>
            <p14:sldId id="843"/>
          </p14:sldIdLst>
        </p14:section>
      </p14:sectionLst>
    </p:ext>
    <p:ext uri="{EFAFB233-063F-42B5-8137-9DF3F51BA10A}">
      <p15:sldGuideLst xmlns:p15="http://schemas.microsoft.com/office/powerpoint/2012/main">
        <p15:guide id="3" pos="1255" userDrawn="1">
          <p15:clr>
            <a:srgbClr val="A4A3A4"/>
          </p15:clr>
        </p15:guide>
        <p15:guide id="4" orient="horz" pos="2160">
          <p15:clr>
            <a:srgbClr val="A4A3A4"/>
          </p15:clr>
        </p15:guide>
        <p15:guide id="5" orient="horz" pos="7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EAE6"/>
    <a:srgbClr val="839B61"/>
    <a:srgbClr val="C8785D"/>
    <a:srgbClr val="4A9C94"/>
    <a:srgbClr val="4B7EC8"/>
    <a:srgbClr val="EAF4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02B644-2CDF-4559-8A24-508045AFBA15}" v="1" dt="2026-05-01T15:42:25.49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303" autoAdjust="0"/>
    <p:restoredTop sz="94660"/>
  </p:normalViewPr>
  <p:slideViewPr>
    <p:cSldViewPr snapToGrid="0">
      <p:cViewPr>
        <p:scale>
          <a:sx n="75" d="100"/>
          <a:sy n="75" d="100"/>
        </p:scale>
        <p:origin x="1992" y="1218"/>
      </p:cViewPr>
      <p:guideLst>
        <p:guide pos="1255"/>
        <p:guide orient="horz" pos="2160"/>
        <p:guide orient="horz" pos="77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 showGuides="1">
      <p:cViewPr varScale="1">
        <p:scale>
          <a:sx n="111" d="100"/>
          <a:sy n="111" d="100"/>
        </p:scale>
        <p:origin x="1064" y="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font" Target="fonts/font6.fntdata"/><Relationship Id="rId42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font" Target="fonts/font5.fntdata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font" Target="fonts/font1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font" Target="fonts/font4.fntdata"/><Relationship Id="rId37" Type="http://schemas.openxmlformats.org/officeDocument/2006/relationships/font" Target="fonts/font9.fntdata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handoutMaster" Target="handoutMasters/handoutMaster1.xml"/><Relationship Id="rId36" Type="http://schemas.openxmlformats.org/officeDocument/2006/relationships/font" Target="fonts/font8.fntdata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font" Target="fonts/font3.fntdata"/><Relationship Id="rId4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43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elipe Fileni" userId="5208fa29-782a-4ca5-9a72-8d0287c3c0dd" providerId="ADAL" clId="{5D751061-3EDF-4BFD-91CE-3214EC8BA7A7}"/>
    <pc:docChg chg="custSel modSld">
      <pc:chgData name="Felipe Fileni" userId="5208fa29-782a-4ca5-9a72-8d0287c3c0dd" providerId="ADAL" clId="{5D751061-3EDF-4BFD-91CE-3214EC8BA7A7}" dt="2026-05-01T15:42:37.825" v="2" actId="1076"/>
      <pc:docMkLst>
        <pc:docMk/>
      </pc:docMkLst>
      <pc:sldChg chg="delSp mod">
        <pc:chgData name="Felipe Fileni" userId="5208fa29-782a-4ca5-9a72-8d0287c3c0dd" providerId="ADAL" clId="{5D751061-3EDF-4BFD-91CE-3214EC8BA7A7}" dt="2026-05-01T15:41:01.190" v="0" actId="478"/>
        <pc:sldMkLst>
          <pc:docMk/>
          <pc:sldMk cId="3857852773" sldId="793"/>
        </pc:sldMkLst>
        <pc:picChg chg="del">
          <ac:chgData name="Felipe Fileni" userId="5208fa29-782a-4ca5-9a72-8d0287c3c0dd" providerId="ADAL" clId="{5D751061-3EDF-4BFD-91CE-3214EC8BA7A7}" dt="2026-05-01T15:41:01.190" v="0" actId="478"/>
          <ac:picMkLst>
            <pc:docMk/>
            <pc:sldMk cId="3857852773" sldId="793"/>
            <ac:picMk id="9" creationId="{D3BF8434-111B-529D-F294-26673D84C942}"/>
          </ac:picMkLst>
        </pc:picChg>
      </pc:sldChg>
      <pc:sldChg chg="modSp mod">
        <pc:chgData name="Felipe Fileni" userId="5208fa29-782a-4ca5-9a72-8d0287c3c0dd" providerId="ADAL" clId="{5D751061-3EDF-4BFD-91CE-3214EC8BA7A7}" dt="2026-05-01T15:42:37.825" v="2" actId="1076"/>
        <pc:sldMkLst>
          <pc:docMk/>
          <pc:sldMk cId="2459356433" sldId="831"/>
        </pc:sldMkLst>
        <pc:spChg chg="mod">
          <ac:chgData name="Felipe Fileni" userId="5208fa29-782a-4ca5-9a72-8d0287c3c0dd" providerId="ADAL" clId="{5D751061-3EDF-4BFD-91CE-3214EC8BA7A7}" dt="2026-05-01T15:42:37.825" v="2" actId="1076"/>
          <ac:spMkLst>
            <pc:docMk/>
            <pc:sldMk cId="2459356433" sldId="831"/>
            <ac:spMk id="14" creationId="{54188C94-6F13-B3C9-4498-B8FA90C3E524}"/>
          </ac:spMkLst>
        </pc:spChg>
        <pc:picChg chg="mod">
          <ac:chgData name="Felipe Fileni" userId="5208fa29-782a-4ca5-9a72-8d0287c3c0dd" providerId="ADAL" clId="{5D751061-3EDF-4BFD-91CE-3214EC8BA7A7}" dt="2026-05-01T15:42:25.490" v="1"/>
          <ac:picMkLst>
            <pc:docMk/>
            <pc:sldMk cId="2459356433" sldId="831"/>
            <ac:picMk id="13" creationId="{5D9E93B0-858A-F360-7997-837D98A34F15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7FFFD52-4E12-EC8E-AAEF-39C3A0AD75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+mn-lt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3ABF57-5B87-44D4-F162-2819D1168FD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4898D0-32BC-4F94-B73D-13AC2973180F}" type="datetimeFigureOut">
              <a:rPr lang="en-GB" smtClean="0">
                <a:latin typeface="+mn-lt"/>
              </a:rPr>
              <a:t>01/05/2026</a:t>
            </a:fld>
            <a:endParaRPr lang="en-GB" dirty="0">
              <a:latin typeface="+mn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DBA8452-D524-8034-26C6-AAB20B831C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+mn-lt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F1D46C-0051-0CFA-56AD-A9B54BCCD59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2706D3-7BA1-4691-8510-215EF3DC7812}" type="slidenum">
              <a:rPr lang="en-GB" smtClean="0">
                <a:latin typeface="+mn-lt"/>
              </a:rPr>
              <a:t>‹#›</a:t>
            </a:fld>
            <a:endParaRPr lang="en-GB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107193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A65CA9E3-CD76-4ECB-83AE-AF5819DFEB96}" type="datetimeFigureOut">
              <a:rPr lang="en-GB" smtClean="0"/>
              <a:pPr/>
              <a:t>01/05/202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</a:defRPr>
            </a:lvl1pPr>
          </a:lstStyle>
          <a:p>
            <a:fld id="{D9D9A469-41C0-4345-A332-60C64BEE914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76162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17" Type="http://schemas.openxmlformats.org/officeDocument/2006/relationships/image" Target="../media/image16.png"/><Relationship Id="rId2" Type="http://schemas.openxmlformats.org/officeDocument/2006/relationships/image" Target="../media/image1.png"/><Relationship Id="rId16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5" Type="http://schemas.openxmlformats.org/officeDocument/2006/relationships/image" Target="../media/image25.png"/><Relationship Id="rId4" Type="http://schemas.openxmlformats.org/officeDocument/2006/relationships/image" Target="../media/image21.pn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17" Type="http://schemas.openxmlformats.org/officeDocument/2006/relationships/image" Target="../media/image16.png"/><Relationship Id="rId2" Type="http://schemas.openxmlformats.org/officeDocument/2006/relationships/image" Target="../media/image1.png"/><Relationship Id="rId16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png"/><Relationship Id="rId5" Type="http://schemas.openxmlformats.org/officeDocument/2006/relationships/image" Target="../media/image25.png"/><Relationship Id="rId4" Type="http://schemas.openxmlformats.org/officeDocument/2006/relationships/image" Target="../media/image21.pn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C39EC67-35FF-2A44-894E-F494E04CA3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43523" y="0"/>
            <a:ext cx="7848050" cy="685751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30C1D17-0A26-073C-8FD3-3D9C9D9B7A16}"/>
              </a:ext>
            </a:extLst>
          </p:cNvPr>
          <p:cNvGrpSpPr/>
          <p:nvPr userDrawn="1"/>
        </p:nvGrpSpPr>
        <p:grpSpPr>
          <a:xfrm>
            <a:off x="444894" y="5891285"/>
            <a:ext cx="3806509" cy="560461"/>
            <a:chOff x="444894" y="5891285"/>
            <a:chExt cx="3806509" cy="560461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0EA0FEA6-EEEE-BCA4-FC3C-67250D6B2ABC}"/>
                </a:ext>
              </a:extLst>
            </p:cNvPr>
            <p:cNvGrpSpPr/>
            <p:nvPr userDrawn="1"/>
          </p:nvGrpSpPr>
          <p:grpSpPr>
            <a:xfrm>
              <a:off x="444894" y="5891285"/>
              <a:ext cx="2121117" cy="560461"/>
              <a:chOff x="444894" y="5881858"/>
              <a:chExt cx="2121117" cy="560461"/>
            </a:xfrm>
          </p:grpSpPr>
          <p:sp>
            <p:nvSpPr>
              <p:cNvPr id="8" name="object 8"/>
              <p:cNvSpPr/>
              <p:nvPr/>
            </p:nvSpPr>
            <p:spPr>
              <a:xfrm>
                <a:off x="1097760" y="5990273"/>
                <a:ext cx="1468251" cy="341167"/>
              </a:xfrm>
              <a:custGeom>
                <a:avLst/>
                <a:gdLst/>
                <a:ahLst/>
                <a:cxnLst/>
                <a:rect l="l" t="t" r="r" b="b"/>
                <a:pathLst>
                  <a:path w="2421254" h="562609">
                    <a:moveTo>
                      <a:pt x="76395" y="9737"/>
                    </a:moveTo>
                    <a:lnTo>
                      <a:pt x="0" y="9737"/>
                    </a:lnTo>
                    <a:lnTo>
                      <a:pt x="0" y="331801"/>
                    </a:lnTo>
                    <a:lnTo>
                      <a:pt x="3125" y="390312"/>
                    </a:lnTo>
                    <a:lnTo>
                      <a:pt x="12649" y="439255"/>
                    </a:lnTo>
                    <a:lnTo>
                      <a:pt x="28791" y="479175"/>
                    </a:lnTo>
                    <a:lnTo>
                      <a:pt x="51770" y="510615"/>
                    </a:lnTo>
                    <a:lnTo>
                      <a:pt x="81806" y="534120"/>
                    </a:lnTo>
                    <a:lnTo>
                      <a:pt x="119119" y="550236"/>
                    </a:lnTo>
                    <a:lnTo>
                      <a:pt x="163928" y="559506"/>
                    </a:lnTo>
                    <a:lnTo>
                      <a:pt x="216454" y="562475"/>
                    </a:lnTo>
                    <a:lnTo>
                      <a:pt x="271225" y="558818"/>
                    </a:lnTo>
                    <a:lnTo>
                      <a:pt x="317298" y="547824"/>
                    </a:lnTo>
                    <a:lnTo>
                      <a:pt x="355103" y="529458"/>
                    </a:lnTo>
                    <a:lnTo>
                      <a:pt x="385070" y="503684"/>
                    </a:lnTo>
                    <a:lnTo>
                      <a:pt x="389901" y="496571"/>
                    </a:lnTo>
                    <a:lnTo>
                      <a:pt x="216454" y="496571"/>
                    </a:lnTo>
                    <a:lnTo>
                      <a:pt x="162773" y="490573"/>
                    </a:lnTo>
                    <a:lnTo>
                      <a:pt x="123149" y="472316"/>
                    </a:lnTo>
                    <a:lnTo>
                      <a:pt x="96360" y="441403"/>
                    </a:lnTo>
                    <a:lnTo>
                      <a:pt x="81183" y="397440"/>
                    </a:lnTo>
                    <a:lnTo>
                      <a:pt x="76395" y="340031"/>
                    </a:lnTo>
                    <a:lnTo>
                      <a:pt x="76395" y="9737"/>
                    </a:lnTo>
                    <a:close/>
                  </a:path>
                  <a:path w="2421254" h="562609">
                    <a:moveTo>
                      <a:pt x="435159" y="9737"/>
                    </a:moveTo>
                    <a:lnTo>
                      <a:pt x="358763" y="9737"/>
                    </a:lnTo>
                    <a:lnTo>
                      <a:pt x="358763" y="331801"/>
                    </a:lnTo>
                    <a:lnTo>
                      <a:pt x="355452" y="381192"/>
                    </a:lnTo>
                    <a:lnTo>
                      <a:pt x="345004" y="422117"/>
                    </a:lnTo>
                    <a:lnTo>
                      <a:pt x="299621" y="477652"/>
                    </a:lnTo>
                    <a:lnTo>
                      <a:pt x="263145" y="491803"/>
                    </a:lnTo>
                    <a:lnTo>
                      <a:pt x="216454" y="496571"/>
                    </a:lnTo>
                    <a:lnTo>
                      <a:pt x="389901" y="496571"/>
                    </a:lnTo>
                    <a:lnTo>
                      <a:pt x="407629" y="470467"/>
                    </a:lnTo>
                    <a:lnTo>
                      <a:pt x="423210" y="429771"/>
                    </a:lnTo>
                    <a:lnTo>
                      <a:pt x="432244" y="381561"/>
                    </a:lnTo>
                    <a:lnTo>
                      <a:pt x="435159" y="325801"/>
                    </a:lnTo>
                    <a:lnTo>
                      <a:pt x="435159" y="9737"/>
                    </a:lnTo>
                    <a:close/>
                  </a:path>
                  <a:path w="2421254" h="562609">
                    <a:moveTo>
                      <a:pt x="609656" y="9737"/>
                    </a:moveTo>
                    <a:lnTo>
                      <a:pt x="533261" y="9737"/>
                    </a:lnTo>
                    <a:lnTo>
                      <a:pt x="533261" y="552737"/>
                    </a:lnTo>
                    <a:lnTo>
                      <a:pt x="609656" y="552737"/>
                    </a:lnTo>
                    <a:lnTo>
                      <a:pt x="609656" y="381977"/>
                    </a:lnTo>
                    <a:lnTo>
                      <a:pt x="695036" y="287614"/>
                    </a:lnTo>
                    <a:lnTo>
                      <a:pt x="786259" y="287614"/>
                    </a:lnTo>
                    <a:lnTo>
                      <a:pt x="783089" y="283111"/>
                    </a:lnTo>
                    <a:lnTo>
                      <a:pt x="609656" y="283111"/>
                    </a:lnTo>
                    <a:lnTo>
                      <a:pt x="609656" y="9737"/>
                    </a:lnTo>
                    <a:close/>
                  </a:path>
                  <a:path w="2421254" h="562609">
                    <a:moveTo>
                      <a:pt x="786259" y="287614"/>
                    </a:moveTo>
                    <a:lnTo>
                      <a:pt x="695036" y="287614"/>
                    </a:lnTo>
                    <a:lnTo>
                      <a:pt x="881533" y="552737"/>
                    </a:lnTo>
                    <a:lnTo>
                      <a:pt x="972912" y="552737"/>
                    </a:lnTo>
                    <a:lnTo>
                      <a:pt x="786259" y="287614"/>
                    </a:lnTo>
                    <a:close/>
                  </a:path>
                  <a:path w="2421254" h="562609">
                    <a:moveTo>
                      <a:pt x="949698" y="9737"/>
                    </a:moveTo>
                    <a:lnTo>
                      <a:pt x="854570" y="9737"/>
                    </a:lnTo>
                    <a:lnTo>
                      <a:pt x="609656" y="283111"/>
                    </a:lnTo>
                    <a:lnTo>
                      <a:pt x="783089" y="283111"/>
                    </a:lnTo>
                    <a:lnTo>
                      <a:pt x="746710" y="231437"/>
                    </a:lnTo>
                    <a:lnTo>
                      <a:pt x="949698" y="9737"/>
                    </a:lnTo>
                    <a:close/>
                  </a:path>
                  <a:path w="2421254" h="562609">
                    <a:moveTo>
                      <a:pt x="1228297" y="0"/>
                    </a:moveTo>
                    <a:lnTo>
                      <a:pt x="1179400" y="4082"/>
                    </a:lnTo>
                    <a:lnTo>
                      <a:pt x="1134825" y="16018"/>
                    </a:lnTo>
                    <a:lnTo>
                      <a:pt x="1094903" y="35377"/>
                    </a:lnTo>
                    <a:lnTo>
                      <a:pt x="1060167" y="61576"/>
                    </a:lnTo>
                    <a:lnTo>
                      <a:pt x="1030848" y="94262"/>
                    </a:lnTo>
                    <a:lnTo>
                      <a:pt x="1007380" y="132927"/>
                    </a:lnTo>
                    <a:lnTo>
                      <a:pt x="990144" y="177103"/>
                    </a:lnTo>
                    <a:lnTo>
                      <a:pt x="979522" y="226323"/>
                    </a:lnTo>
                    <a:lnTo>
                      <a:pt x="975896" y="280117"/>
                    </a:lnTo>
                    <a:lnTo>
                      <a:pt x="979218" y="333199"/>
                    </a:lnTo>
                    <a:lnTo>
                      <a:pt x="989042" y="382205"/>
                    </a:lnTo>
                    <a:lnTo>
                      <a:pt x="1005160" y="426556"/>
                    </a:lnTo>
                    <a:lnTo>
                      <a:pt x="1027361" y="465673"/>
                    </a:lnTo>
                    <a:lnTo>
                      <a:pt x="1055438" y="498977"/>
                    </a:lnTo>
                    <a:lnTo>
                      <a:pt x="1089181" y="525888"/>
                    </a:lnTo>
                    <a:lnTo>
                      <a:pt x="1128379" y="545828"/>
                    </a:lnTo>
                    <a:lnTo>
                      <a:pt x="1172825" y="558216"/>
                    </a:lnTo>
                    <a:lnTo>
                      <a:pt x="1222308" y="562475"/>
                    </a:lnTo>
                    <a:lnTo>
                      <a:pt x="1271099" y="558640"/>
                    </a:lnTo>
                    <a:lnTo>
                      <a:pt x="1316158" y="547208"/>
                    </a:lnTo>
                    <a:lnTo>
                      <a:pt x="1356685" y="528281"/>
                    </a:lnTo>
                    <a:lnTo>
                      <a:pt x="1391881" y="501965"/>
                    </a:lnTo>
                    <a:lnTo>
                      <a:pt x="1395252" y="498068"/>
                    </a:lnTo>
                    <a:lnTo>
                      <a:pt x="1226800" y="498068"/>
                    </a:lnTo>
                    <a:lnTo>
                      <a:pt x="1185380" y="493227"/>
                    </a:lnTo>
                    <a:lnTo>
                      <a:pt x="1148282" y="478967"/>
                    </a:lnTo>
                    <a:lnTo>
                      <a:pt x="1116254" y="455680"/>
                    </a:lnTo>
                    <a:lnTo>
                      <a:pt x="1090042" y="423759"/>
                    </a:lnTo>
                    <a:lnTo>
                      <a:pt x="1070394" y="383596"/>
                    </a:lnTo>
                    <a:lnTo>
                      <a:pt x="1058057" y="335584"/>
                    </a:lnTo>
                    <a:lnTo>
                      <a:pt x="1053779" y="280117"/>
                    </a:lnTo>
                    <a:lnTo>
                      <a:pt x="1058208" y="223834"/>
                    </a:lnTo>
                    <a:lnTo>
                      <a:pt x="1070865" y="175779"/>
                    </a:lnTo>
                    <a:lnTo>
                      <a:pt x="1090808" y="136108"/>
                    </a:lnTo>
                    <a:lnTo>
                      <a:pt x="1117091" y="104979"/>
                    </a:lnTo>
                    <a:lnTo>
                      <a:pt x="1148772" y="82549"/>
                    </a:lnTo>
                    <a:lnTo>
                      <a:pt x="1184905" y="68976"/>
                    </a:lnTo>
                    <a:lnTo>
                      <a:pt x="1224549" y="64416"/>
                    </a:lnTo>
                    <a:lnTo>
                      <a:pt x="1392710" y="64416"/>
                    </a:lnTo>
                    <a:lnTo>
                      <a:pt x="1390770" y="62087"/>
                    </a:lnTo>
                    <a:lnTo>
                      <a:pt x="1356937" y="35377"/>
                    </a:lnTo>
                    <a:lnTo>
                      <a:pt x="1318263" y="16018"/>
                    </a:lnTo>
                    <a:lnTo>
                      <a:pt x="1318417" y="16018"/>
                    </a:lnTo>
                    <a:lnTo>
                      <a:pt x="1275128" y="4082"/>
                    </a:lnTo>
                    <a:lnTo>
                      <a:pt x="1275535" y="4082"/>
                    </a:lnTo>
                    <a:lnTo>
                      <a:pt x="1228297" y="0"/>
                    </a:lnTo>
                    <a:close/>
                  </a:path>
                  <a:path w="2421254" h="562609">
                    <a:moveTo>
                      <a:pt x="1457484" y="379726"/>
                    </a:moveTo>
                    <a:lnTo>
                      <a:pt x="1383329" y="379726"/>
                    </a:lnTo>
                    <a:lnTo>
                      <a:pt x="1368780" y="418780"/>
                    </a:lnTo>
                    <a:lnTo>
                      <a:pt x="1345815" y="451472"/>
                    </a:lnTo>
                    <a:lnTo>
                      <a:pt x="1314471" y="476472"/>
                    </a:lnTo>
                    <a:lnTo>
                      <a:pt x="1274787" y="492447"/>
                    </a:lnTo>
                    <a:lnTo>
                      <a:pt x="1226800" y="498068"/>
                    </a:lnTo>
                    <a:lnTo>
                      <a:pt x="1395252" y="498068"/>
                    </a:lnTo>
                    <a:lnTo>
                      <a:pt x="1420946" y="468364"/>
                    </a:lnTo>
                    <a:lnTo>
                      <a:pt x="1443080" y="427583"/>
                    </a:lnTo>
                    <a:lnTo>
                      <a:pt x="1457484" y="379726"/>
                    </a:lnTo>
                    <a:close/>
                  </a:path>
                  <a:path w="2421254" h="562609">
                    <a:moveTo>
                      <a:pt x="1392710" y="64416"/>
                    </a:moveTo>
                    <a:lnTo>
                      <a:pt x="1224549" y="64416"/>
                    </a:lnTo>
                    <a:lnTo>
                      <a:pt x="1272316" y="70181"/>
                    </a:lnTo>
                    <a:lnTo>
                      <a:pt x="1312065" y="86443"/>
                    </a:lnTo>
                    <a:lnTo>
                      <a:pt x="1343510" y="111657"/>
                    </a:lnTo>
                    <a:lnTo>
                      <a:pt x="1366362" y="144274"/>
                    </a:lnTo>
                    <a:lnTo>
                      <a:pt x="1380334" y="182748"/>
                    </a:lnTo>
                    <a:lnTo>
                      <a:pt x="1454489" y="182748"/>
                    </a:lnTo>
                    <a:lnTo>
                      <a:pt x="1440315" y="136108"/>
                    </a:lnTo>
                    <a:lnTo>
                      <a:pt x="1418812" y="95754"/>
                    </a:lnTo>
                    <a:lnTo>
                      <a:pt x="1392710" y="64416"/>
                    </a:lnTo>
                    <a:close/>
                  </a:path>
                  <a:path w="2421254" h="562609">
                    <a:moveTo>
                      <a:pt x="1899376" y="9737"/>
                    </a:moveTo>
                    <a:lnTo>
                      <a:pt x="1530885" y="9737"/>
                    </a:lnTo>
                    <a:lnTo>
                      <a:pt x="1530885" y="552737"/>
                    </a:lnTo>
                    <a:lnTo>
                      <a:pt x="1899376" y="552737"/>
                    </a:lnTo>
                    <a:lnTo>
                      <a:pt x="1899376" y="486833"/>
                    </a:lnTo>
                    <a:lnTo>
                      <a:pt x="1607270" y="486833"/>
                    </a:lnTo>
                    <a:lnTo>
                      <a:pt x="1607270" y="306325"/>
                    </a:lnTo>
                    <a:lnTo>
                      <a:pt x="1882152" y="306325"/>
                    </a:lnTo>
                    <a:lnTo>
                      <a:pt x="1882152" y="240421"/>
                    </a:lnTo>
                    <a:lnTo>
                      <a:pt x="1607270" y="240421"/>
                    </a:lnTo>
                    <a:lnTo>
                      <a:pt x="1607270" y="75641"/>
                    </a:lnTo>
                    <a:lnTo>
                      <a:pt x="1899376" y="75641"/>
                    </a:lnTo>
                    <a:lnTo>
                      <a:pt x="1899376" y="9737"/>
                    </a:lnTo>
                    <a:close/>
                  </a:path>
                  <a:path w="2421254" h="562609">
                    <a:moveTo>
                      <a:pt x="2058900" y="9737"/>
                    </a:moveTo>
                    <a:lnTo>
                      <a:pt x="1982505" y="9737"/>
                    </a:lnTo>
                    <a:lnTo>
                      <a:pt x="1982505" y="552737"/>
                    </a:lnTo>
                    <a:lnTo>
                      <a:pt x="2058900" y="552737"/>
                    </a:lnTo>
                    <a:lnTo>
                      <a:pt x="2058900" y="306325"/>
                    </a:lnTo>
                    <a:lnTo>
                      <a:pt x="2420659" y="306325"/>
                    </a:lnTo>
                    <a:lnTo>
                      <a:pt x="2420659" y="240421"/>
                    </a:lnTo>
                    <a:lnTo>
                      <a:pt x="2058900" y="240421"/>
                    </a:lnTo>
                    <a:lnTo>
                      <a:pt x="2058900" y="9737"/>
                    </a:lnTo>
                    <a:close/>
                  </a:path>
                  <a:path w="2421254" h="562609">
                    <a:moveTo>
                      <a:pt x="2420659" y="306325"/>
                    </a:moveTo>
                    <a:lnTo>
                      <a:pt x="2344263" y="306325"/>
                    </a:lnTo>
                    <a:lnTo>
                      <a:pt x="2344263" y="552737"/>
                    </a:lnTo>
                    <a:lnTo>
                      <a:pt x="2420659" y="552737"/>
                    </a:lnTo>
                    <a:lnTo>
                      <a:pt x="2420659" y="306325"/>
                    </a:lnTo>
                    <a:close/>
                  </a:path>
                  <a:path w="2421254" h="562609">
                    <a:moveTo>
                      <a:pt x="2420659" y="9737"/>
                    </a:moveTo>
                    <a:lnTo>
                      <a:pt x="2344263" y="9737"/>
                    </a:lnTo>
                    <a:lnTo>
                      <a:pt x="2344263" y="240421"/>
                    </a:lnTo>
                    <a:lnTo>
                      <a:pt x="2420659" y="240421"/>
                    </a:lnTo>
                    <a:lnTo>
                      <a:pt x="2420659" y="9737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 defTabSz="554492"/>
                <a:endParaRPr sz="1092" kern="0">
                  <a:solidFill>
                    <a:sysClr val="windowText" lastClr="000000"/>
                  </a:solidFill>
                </a:endParaRPr>
              </a:p>
            </p:txBody>
          </p:sp>
          <p:pic>
            <p:nvPicPr>
              <p:cNvPr id="9" name="object 9"/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688034" y="5881858"/>
                <a:ext cx="74182" cy="74188"/>
              </a:xfrm>
              <a:prstGeom prst="rect">
                <a:avLst/>
              </a:prstGeom>
            </p:spPr>
          </p:pic>
          <p:pic>
            <p:nvPicPr>
              <p:cNvPr id="4" name="object 10"/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688033" y="6368131"/>
                <a:ext cx="74182" cy="74188"/>
              </a:xfrm>
              <a:prstGeom prst="rect">
                <a:avLst/>
              </a:prstGeom>
            </p:spPr>
          </p:pic>
          <p:pic>
            <p:nvPicPr>
              <p:cNvPr id="11" name="object 11"/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444894" y="6124997"/>
                <a:ext cx="74188" cy="74182"/>
              </a:xfrm>
              <a:prstGeom prst="rect">
                <a:avLst/>
              </a:prstGeom>
            </p:spPr>
          </p:pic>
          <p:pic>
            <p:nvPicPr>
              <p:cNvPr id="5" name="object 12"/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931167" y="6124998"/>
                <a:ext cx="74188" cy="74182"/>
              </a:xfrm>
              <a:prstGeom prst="rect">
                <a:avLst/>
              </a:prstGeom>
            </p:spPr>
          </p:pic>
          <p:pic>
            <p:nvPicPr>
              <p:cNvPr id="13" name="object 13"/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697308" y="5993870"/>
                <a:ext cx="55634" cy="55634"/>
              </a:xfrm>
              <a:prstGeom prst="rect">
                <a:avLst/>
              </a:prstGeom>
            </p:spPr>
          </p:pic>
          <p:pic>
            <p:nvPicPr>
              <p:cNvPr id="14" name="object 14"/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697306" y="6274673"/>
                <a:ext cx="55634" cy="55634"/>
              </a:xfrm>
              <a:prstGeom prst="rect">
                <a:avLst/>
              </a:prstGeom>
            </p:spPr>
          </p:pic>
          <p:pic>
            <p:nvPicPr>
              <p:cNvPr id="15" name="object 15"/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556906" y="6134270"/>
                <a:ext cx="55634" cy="55634"/>
              </a:xfrm>
              <a:prstGeom prst="rect">
                <a:avLst/>
              </a:prstGeom>
            </p:spPr>
          </p:pic>
          <p:pic>
            <p:nvPicPr>
              <p:cNvPr id="16" name="object 16"/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837708" y="6134273"/>
                <a:ext cx="55634" cy="55634"/>
              </a:xfrm>
              <a:prstGeom prst="rect">
                <a:avLst/>
              </a:prstGeom>
            </p:spPr>
          </p:pic>
          <p:grpSp>
            <p:nvGrpSpPr>
              <p:cNvPr id="17" name="object 17"/>
              <p:cNvGrpSpPr/>
              <p:nvPr/>
            </p:nvGrpSpPr>
            <p:grpSpPr>
              <a:xfrm>
                <a:off x="477746" y="6176265"/>
                <a:ext cx="494808" cy="233349"/>
                <a:chOff x="787133" y="10185118"/>
                <a:chExt cx="815975" cy="384810"/>
              </a:xfrm>
            </p:grpSpPr>
            <p:pic>
              <p:nvPicPr>
                <p:cNvPr id="18" name="object 18"/>
                <p:cNvPicPr/>
                <p:nvPr/>
              </p:nvPicPr>
              <p:blipFill>
                <a:blip r:embed="rId9" cstate="print"/>
                <a:stretch>
                  <a:fillRect/>
                </a:stretch>
              </p:blipFill>
              <p:spPr>
                <a:xfrm>
                  <a:off x="1334840" y="10448257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19" name="object 19"/>
                <p:cNvPicPr/>
                <p:nvPr/>
              </p:nvPicPr>
              <p:blipFill>
                <a:blip r:embed="rId10" cstate="print"/>
                <a:stretch>
                  <a:fillRect/>
                </a:stretch>
              </p:blipFill>
              <p:spPr>
                <a:xfrm>
                  <a:off x="1481599" y="10301501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0" name="object 20"/>
                <p:cNvPicPr/>
                <p:nvPr/>
              </p:nvPicPr>
              <p:blipFill>
                <a:blip r:embed="rId11" cstate="print"/>
                <a:stretch>
                  <a:fillRect/>
                </a:stretch>
              </p:blipFill>
              <p:spPr>
                <a:xfrm>
                  <a:off x="787133" y="10301502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1" name="object 21"/>
                <p:cNvPicPr/>
                <p:nvPr/>
              </p:nvPicPr>
              <p:blipFill>
                <a:blip r:embed="rId12" cstate="print"/>
                <a:stretch>
                  <a:fillRect/>
                </a:stretch>
              </p:blipFill>
              <p:spPr>
                <a:xfrm>
                  <a:off x="933890" y="10448262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2" name="object 22"/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1312920" y="10279582"/>
                  <a:ext cx="91751" cy="91751"/>
                </a:xfrm>
                <a:prstGeom prst="rect">
                  <a:avLst/>
                </a:prstGeom>
              </p:spPr>
            </p:pic>
            <p:pic>
              <p:nvPicPr>
                <p:cNvPr id="23" name="object 23"/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985485" y="10279583"/>
                  <a:ext cx="91751" cy="91751"/>
                </a:xfrm>
                <a:prstGeom prst="rect">
                  <a:avLst/>
                </a:prstGeom>
              </p:spPr>
            </p:pic>
            <p:sp>
              <p:nvSpPr>
                <p:cNvPr id="24" name="object 24"/>
                <p:cNvSpPr/>
                <p:nvPr/>
              </p:nvSpPr>
              <p:spPr>
                <a:xfrm>
                  <a:off x="1086154" y="10185126"/>
                  <a:ext cx="218440" cy="990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8440" h="99059">
                      <a:moveTo>
                        <a:pt x="50088" y="21932"/>
                      </a:moveTo>
                      <a:lnTo>
                        <a:pt x="46901" y="12433"/>
                      </a:lnTo>
                      <a:lnTo>
                        <a:pt x="40271" y="4914"/>
                      </a:lnTo>
                      <a:lnTo>
                        <a:pt x="31572" y="673"/>
                      </a:lnTo>
                      <a:lnTo>
                        <a:pt x="21920" y="0"/>
                      </a:lnTo>
                      <a:lnTo>
                        <a:pt x="12433" y="3187"/>
                      </a:lnTo>
                      <a:lnTo>
                        <a:pt x="4914" y="9829"/>
                      </a:lnTo>
                      <a:lnTo>
                        <a:pt x="673" y="18516"/>
                      </a:lnTo>
                      <a:lnTo>
                        <a:pt x="0" y="28168"/>
                      </a:lnTo>
                      <a:lnTo>
                        <a:pt x="3187" y="37668"/>
                      </a:lnTo>
                      <a:lnTo>
                        <a:pt x="9817" y="45173"/>
                      </a:lnTo>
                      <a:lnTo>
                        <a:pt x="18516" y="49415"/>
                      </a:lnTo>
                      <a:lnTo>
                        <a:pt x="28168" y="50088"/>
                      </a:lnTo>
                      <a:lnTo>
                        <a:pt x="37668" y="46901"/>
                      </a:lnTo>
                      <a:lnTo>
                        <a:pt x="45173" y="40271"/>
                      </a:lnTo>
                      <a:lnTo>
                        <a:pt x="49415" y="31572"/>
                      </a:lnTo>
                      <a:lnTo>
                        <a:pt x="50088" y="21932"/>
                      </a:lnTo>
                      <a:close/>
                    </a:path>
                    <a:path w="218440" h="99059">
                      <a:moveTo>
                        <a:pt x="134150" y="73469"/>
                      </a:moveTo>
                      <a:lnTo>
                        <a:pt x="132168" y="63652"/>
                      </a:lnTo>
                      <a:lnTo>
                        <a:pt x="126758" y="55626"/>
                      </a:lnTo>
                      <a:lnTo>
                        <a:pt x="118745" y="50215"/>
                      </a:lnTo>
                      <a:lnTo>
                        <a:pt x="108915" y="48234"/>
                      </a:lnTo>
                      <a:lnTo>
                        <a:pt x="99098" y="50215"/>
                      </a:lnTo>
                      <a:lnTo>
                        <a:pt x="91071" y="55626"/>
                      </a:lnTo>
                      <a:lnTo>
                        <a:pt x="85674" y="63652"/>
                      </a:lnTo>
                      <a:lnTo>
                        <a:pt x="83680" y="73469"/>
                      </a:lnTo>
                      <a:lnTo>
                        <a:pt x="85674" y="83286"/>
                      </a:lnTo>
                      <a:lnTo>
                        <a:pt x="91071" y="91313"/>
                      </a:lnTo>
                      <a:lnTo>
                        <a:pt x="99098" y="96723"/>
                      </a:lnTo>
                      <a:lnTo>
                        <a:pt x="108915" y="98704"/>
                      </a:lnTo>
                      <a:lnTo>
                        <a:pt x="118745" y="96723"/>
                      </a:lnTo>
                      <a:lnTo>
                        <a:pt x="126758" y="91313"/>
                      </a:lnTo>
                      <a:lnTo>
                        <a:pt x="132168" y="83286"/>
                      </a:lnTo>
                      <a:lnTo>
                        <a:pt x="134150" y="73469"/>
                      </a:lnTo>
                      <a:close/>
                    </a:path>
                    <a:path w="218440" h="99059">
                      <a:moveTo>
                        <a:pt x="217830" y="28155"/>
                      </a:moveTo>
                      <a:lnTo>
                        <a:pt x="217157" y="18516"/>
                      </a:lnTo>
                      <a:lnTo>
                        <a:pt x="212915" y="9817"/>
                      </a:lnTo>
                      <a:lnTo>
                        <a:pt x="205409" y="3187"/>
                      </a:lnTo>
                      <a:lnTo>
                        <a:pt x="195910" y="0"/>
                      </a:lnTo>
                      <a:lnTo>
                        <a:pt x="186258" y="673"/>
                      </a:lnTo>
                      <a:lnTo>
                        <a:pt x="177558" y="4914"/>
                      </a:lnTo>
                      <a:lnTo>
                        <a:pt x="170942" y="12420"/>
                      </a:lnTo>
                      <a:lnTo>
                        <a:pt x="167754" y="21920"/>
                      </a:lnTo>
                      <a:lnTo>
                        <a:pt x="168427" y="31572"/>
                      </a:lnTo>
                      <a:lnTo>
                        <a:pt x="172669" y="40271"/>
                      </a:lnTo>
                      <a:lnTo>
                        <a:pt x="180174" y="46901"/>
                      </a:lnTo>
                      <a:lnTo>
                        <a:pt x="189674" y="50088"/>
                      </a:lnTo>
                      <a:lnTo>
                        <a:pt x="199313" y="49415"/>
                      </a:lnTo>
                      <a:lnTo>
                        <a:pt x="208013" y="45173"/>
                      </a:lnTo>
                      <a:lnTo>
                        <a:pt x="214642" y="37655"/>
                      </a:lnTo>
                      <a:lnTo>
                        <a:pt x="217830" y="2815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defTabSz="554492"/>
                  <a:endParaRPr sz="1092" kern="0">
                    <a:solidFill>
                      <a:sysClr val="windowText" lastClr="000000"/>
                    </a:solidFill>
                  </a:endParaRPr>
                </a:p>
              </p:txBody>
            </p:sp>
          </p:grpSp>
          <p:grpSp>
            <p:nvGrpSpPr>
              <p:cNvPr id="6" name="object 25"/>
              <p:cNvGrpSpPr/>
              <p:nvPr/>
            </p:nvGrpSpPr>
            <p:grpSpPr>
              <a:xfrm>
                <a:off x="477744" y="5914708"/>
                <a:ext cx="494808" cy="233349"/>
                <a:chOff x="787129" y="9753791"/>
                <a:chExt cx="815975" cy="384810"/>
              </a:xfrm>
            </p:grpSpPr>
            <p:pic>
              <p:nvPicPr>
                <p:cNvPr id="26" name="object 26"/>
                <p:cNvPicPr/>
                <p:nvPr/>
              </p:nvPicPr>
              <p:blipFill>
                <a:blip r:embed="rId11" cstate="print"/>
                <a:stretch>
                  <a:fillRect/>
                </a:stretch>
              </p:blipFill>
              <p:spPr>
                <a:xfrm>
                  <a:off x="933889" y="9753796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7" name="object 27"/>
                <p:cNvPicPr/>
                <p:nvPr/>
              </p:nvPicPr>
              <p:blipFill>
                <a:blip r:embed="rId12" cstate="print"/>
                <a:stretch>
                  <a:fillRect/>
                </a:stretch>
              </p:blipFill>
              <p:spPr>
                <a:xfrm>
                  <a:off x="787129" y="9900552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8" name="object 28"/>
                <p:cNvPicPr/>
                <p:nvPr/>
              </p:nvPicPr>
              <p:blipFill>
                <a:blip r:embed="rId9" cstate="print"/>
                <a:stretch>
                  <a:fillRect/>
                </a:stretch>
              </p:blipFill>
              <p:spPr>
                <a:xfrm>
                  <a:off x="1481595" y="9900551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9" name="object 29"/>
                <p:cNvPicPr/>
                <p:nvPr/>
              </p:nvPicPr>
              <p:blipFill>
                <a:blip r:embed="rId10" cstate="print"/>
                <a:stretch>
                  <a:fillRect/>
                </a:stretch>
              </p:blipFill>
              <p:spPr>
                <a:xfrm>
                  <a:off x="1334838" y="9753791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30" name="object 30"/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985484" y="9952147"/>
                  <a:ext cx="91751" cy="91751"/>
                </a:xfrm>
                <a:prstGeom prst="rect">
                  <a:avLst/>
                </a:prstGeom>
              </p:spPr>
            </p:pic>
            <p:pic>
              <p:nvPicPr>
                <p:cNvPr id="31" name="object 31"/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1312920" y="9952146"/>
                  <a:ext cx="91751" cy="91751"/>
                </a:xfrm>
                <a:prstGeom prst="rect">
                  <a:avLst/>
                </a:prstGeom>
              </p:spPr>
            </p:pic>
            <p:sp>
              <p:nvSpPr>
                <p:cNvPr id="32" name="object 32"/>
                <p:cNvSpPr/>
                <p:nvPr/>
              </p:nvSpPr>
              <p:spPr>
                <a:xfrm>
                  <a:off x="1086154" y="10039660"/>
                  <a:ext cx="218440" cy="990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8440" h="99059">
                      <a:moveTo>
                        <a:pt x="50088" y="76784"/>
                      </a:moveTo>
                      <a:lnTo>
                        <a:pt x="49415" y="67132"/>
                      </a:lnTo>
                      <a:lnTo>
                        <a:pt x="45173" y="58445"/>
                      </a:lnTo>
                      <a:lnTo>
                        <a:pt x="37655" y="51816"/>
                      </a:lnTo>
                      <a:lnTo>
                        <a:pt x="28168" y="48615"/>
                      </a:lnTo>
                      <a:lnTo>
                        <a:pt x="18516" y="49288"/>
                      </a:lnTo>
                      <a:lnTo>
                        <a:pt x="9817" y="53530"/>
                      </a:lnTo>
                      <a:lnTo>
                        <a:pt x="3187" y="61048"/>
                      </a:lnTo>
                      <a:lnTo>
                        <a:pt x="0" y="70548"/>
                      </a:lnTo>
                      <a:lnTo>
                        <a:pt x="673" y="80187"/>
                      </a:lnTo>
                      <a:lnTo>
                        <a:pt x="4914" y="88887"/>
                      </a:lnTo>
                      <a:lnTo>
                        <a:pt x="12420" y="95516"/>
                      </a:lnTo>
                      <a:lnTo>
                        <a:pt x="21920" y="98704"/>
                      </a:lnTo>
                      <a:lnTo>
                        <a:pt x="31572" y="98031"/>
                      </a:lnTo>
                      <a:lnTo>
                        <a:pt x="40271" y="93789"/>
                      </a:lnTo>
                      <a:lnTo>
                        <a:pt x="46901" y="86283"/>
                      </a:lnTo>
                      <a:lnTo>
                        <a:pt x="50088" y="76784"/>
                      </a:lnTo>
                      <a:close/>
                    </a:path>
                    <a:path w="218440" h="99059">
                      <a:moveTo>
                        <a:pt x="134150" y="25234"/>
                      </a:moveTo>
                      <a:lnTo>
                        <a:pt x="132168" y="15417"/>
                      </a:lnTo>
                      <a:lnTo>
                        <a:pt x="126758" y="7391"/>
                      </a:lnTo>
                      <a:lnTo>
                        <a:pt x="118732" y="1981"/>
                      </a:lnTo>
                      <a:lnTo>
                        <a:pt x="108915" y="0"/>
                      </a:lnTo>
                      <a:lnTo>
                        <a:pt x="99098" y="1981"/>
                      </a:lnTo>
                      <a:lnTo>
                        <a:pt x="91071" y="7391"/>
                      </a:lnTo>
                      <a:lnTo>
                        <a:pt x="85674" y="15417"/>
                      </a:lnTo>
                      <a:lnTo>
                        <a:pt x="83693" y="25234"/>
                      </a:lnTo>
                      <a:lnTo>
                        <a:pt x="85674" y="35064"/>
                      </a:lnTo>
                      <a:lnTo>
                        <a:pt x="91071" y="43078"/>
                      </a:lnTo>
                      <a:lnTo>
                        <a:pt x="99098" y="48488"/>
                      </a:lnTo>
                      <a:lnTo>
                        <a:pt x="108915" y="50469"/>
                      </a:lnTo>
                      <a:lnTo>
                        <a:pt x="118732" y="48488"/>
                      </a:lnTo>
                      <a:lnTo>
                        <a:pt x="126758" y="43078"/>
                      </a:lnTo>
                      <a:lnTo>
                        <a:pt x="132168" y="35064"/>
                      </a:lnTo>
                      <a:lnTo>
                        <a:pt x="134150" y="25234"/>
                      </a:lnTo>
                      <a:close/>
                    </a:path>
                    <a:path w="218440" h="99059">
                      <a:moveTo>
                        <a:pt x="217830" y="70535"/>
                      </a:moveTo>
                      <a:lnTo>
                        <a:pt x="214642" y="61048"/>
                      </a:lnTo>
                      <a:lnTo>
                        <a:pt x="208013" y="53530"/>
                      </a:lnTo>
                      <a:lnTo>
                        <a:pt x="199326" y="49288"/>
                      </a:lnTo>
                      <a:lnTo>
                        <a:pt x="189674" y="48615"/>
                      </a:lnTo>
                      <a:lnTo>
                        <a:pt x="180174" y="51803"/>
                      </a:lnTo>
                      <a:lnTo>
                        <a:pt x="172656" y="58432"/>
                      </a:lnTo>
                      <a:lnTo>
                        <a:pt x="168414" y="67132"/>
                      </a:lnTo>
                      <a:lnTo>
                        <a:pt x="167741" y="76771"/>
                      </a:lnTo>
                      <a:lnTo>
                        <a:pt x="170942" y="86283"/>
                      </a:lnTo>
                      <a:lnTo>
                        <a:pt x="177571" y="93789"/>
                      </a:lnTo>
                      <a:lnTo>
                        <a:pt x="186258" y="98031"/>
                      </a:lnTo>
                      <a:lnTo>
                        <a:pt x="195910" y="98704"/>
                      </a:lnTo>
                      <a:lnTo>
                        <a:pt x="205409" y="95516"/>
                      </a:lnTo>
                      <a:lnTo>
                        <a:pt x="212915" y="88887"/>
                      </a:lnTo>
                      <a:lnTo>
                        <a:pt x="217157" y="80187"/>
                      </a:lnTo>
                      <a:lnTo>
                        <a:pt x="217830" y="705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defTabSz="554492"/>
                  <a:endParaRPr sz="1092" kern="0">
                    <a:solidFill>
                      <a:sysClr val="windowText" lastClr="000000"/>
                    </a:solidFill>
                  </a:endParaRPr>
                </a:p>
              </p:txBody>
            </p:sp>
          </p:grpSp>
        </p:grpSp>
        <p:sp>
          <p:nvSpPr>
            <p:cNvPr id="36" name="object 5"/>
            <p:cNvSpPr txBox="1"/>
            <p:nvPr userDrawn="1"/>
          </p:nvSpPr>
          <p:spPr>
            <a:xfrm>
              <a:off x="2912742" y="5954916"/>
              <a:ext cx="1338661" cy="438363"/>
            </a:xfrm>
            <a:prstGeom prst="rect">
              <a:avLst/>
            </a:prstGeom>
          </p:spPr>
          <p:txBody>
            <a:bodyPr vert="horz" wrap="square" lIns="0" tIns="27724" rIns="0" bIns="0" rtlCol="0">
              <a:spAutoFit/>
            </a:bodyPr>
            <a:lstStyle/>
            <a:p>
              <a:pPr marL="7701" marR="3081" defTabSz="554492">
                <a:lnSpc>
                  <a:spcPts val="1601"/>
                </a:lnSpc>
                <a:spcBef>
                  <a:spcPts val="218"/>
                </a:spcBef>
              </a:pPr>
              <a:r>
                <a:rPr lang="en-GB" sz="1450" kern="0" dirty="0">
                  <a:solidFill>
                    <a:srgbClr val="DBFF51"/>
                  </a:solidFill>
                  <a:latin typeface="UKCEH Suisse" panose="020B0504000000000000" pitchFamily="34" charset="-78"/>
                  <a:cs typeface="UKCEH Suisse" panose="020B0504000000000000" pitchFamily="34" charset="-78"/>
                </a:rPr>
                <a:t>Our planet. Decoded</a:t>
              </a:r>
              <a:r>
                <a:rPr sz="1450" kern="0" spc="-6" dirty="0">
                  <a:solidFill>
                    <a:srgbClr val="DBFF51"/>
                  </a:solidFill>
                  <a:latin typeface="UKCEH Suisse" panose="020B0504000000000000" pitchFamily="34" charset="-78"/>
                  <a:cs typeface="UKCEH Suisse" panose="020B0504000000000000" pitchFamily="34" charset="-78"/>
                </a:rPr>
                <a:t>.</a:t>
              </a:r>
              <a:endParaRPr sz="1450" kern="0" dirty="0">
                <a:solidFill>
                  <a:sysClr val="windowText" lastClr="000000"/>
                </a:solidFill>
                <a:latin typeface="UKCEH Suisse" panose="020B0504000000000000" pitchFamily="34" charset="-78"/>
                <a:cs typeface="UKCEH Suisse" panose="020B0504000000000000" pitchFamily="34" charset="-78"/>
              </a:endParaRPr>
            </a:p>
          </p:txBody>
        </p:sp>
      </p:grpSp>
      <p:sp>
        <p:nvSpPr>
          <p:cNvPr id="38" name="Content Placeholder 37">
            <a:extLst>
              <a:ext uri="{FF2B5EF4-FFF2-40B4-BE49-F238E27FC236}">
                <a16:creationId xmlns:a16="http://schemas.microsoft.com/office/drawing/2014/main" id="{4A4C3D98-3DC2-4C00-6BA1-FB8398880F6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1800" y="464721"/>
            <a:ext cx="6724649" cy="1630779"/>
          </a:xfrm>
        </p:spPr>
        <p:txBody>
          <a:bodyPr/>
          <a:lstStyle>
            <a:lvl1pPr>
              <a:lnSpc>
                <a:spcPct val="75000"/>
              </a:lnSpc>
              <a:spcBef>
                <a:spcPts val="1600"/>
              </a:spcBef>
              <a:spcAft>
                <a:spcPts val="0"/>
              </a:spcAft>
              <a:buFontTx/>
              <a:buNone/>
              <a:defRPr sz="5400" spc="-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76000"/>
              </a:lnSpc>
              <a:spcBef>
                <a:spcPts val="1600"/>
              </a:spcBef>
              <a:buFontTx/>
              <a:buNone/>
              <a:defRPr sz="8800" spc="-300" baseline="0">
                <a:solidFill>
                  <a:schemeClr val="bg1"/>
                </a:solidFill>
                <a:latin typeface="+mn-lt"/>
              </a:defRPr>
            </a:lvl2pPr>
            <a:lvl3pPr>
              <a:buFontTx/>
              <a:buNone/>
              <a:defRPr>
                <a:solidFill>
                  <a:schemeClr val="bg1"/>
                </a:solidFill>
              </a:defRPr>
            </a:lvl3pPr>
            <a:lvl4pPr>
              <a:buFontTx/>
              <a:buNone/>
              <a:defRPr>
                <a:solidFill>
                  <a:schemeClr val="bg1"/>
                </a:solidFill>
              </a:defRPr>
            </a:lvl4pPr>
            <a:lvl5pPr>
              <a:buFontTx/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Title 1 54 pt</a:t>
            </a:r>
          </a:p>
          <a:p>
            <a:pPr lvl="1"/>
            <a:r>
              <a:rPr lang="en-US" dirty="0"/>
              <a:t>Title 2 88p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A40F34E-B8BF-70D7-C07A-B9F2337D4765}"/>
              </a:ext>
            </a:extLst>
          </p:cNvPr>
          <p:cNvSpPr/>
          <p:nvPr userDrawn="1"/>
        </p:nvSpPr>
        <p:spPr>
          <a:xfrm>
            <a:off x="440035" y="2753127"/>
            <a:ext cx="72000" cy="165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B7D5D87-19D6-AB68-11C2-7D8D19E1A9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0201" y="2735171"/>
            <a:ext cx="4659595" cy="716273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800" spc="-8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800" spc="-40" baseline="0"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Presentation subtitle 28pt goes here over two lines.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8257085F-D0E4-D339-8B75-A2DEB1453C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201" y="3672791"/>
            <a:ext cx="3497262" cy="745625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2200" spc="-40" baseline="0">
                <a:solidFill>
                  <a:schemeClr val="bg1"/>
                </a:solidFill>
              </a:defRPr>
            </a:lvl1pPr>
            <a:lvl2pPr>
              <a:buNone/>
              <a:defRPr sz="1400" cap="all" spc="30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22pt Body Copy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34875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text +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D6047-A25C-7D70-1F8B-67AEFAF6A4E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2095500"/>
            <a:ext cx="4945216" cy="36639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 b="1">
                <a:latin typeface="+mn-lt"/>
              </a:defRPr>
            </a:lvl5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1168155"/>
            <a:ext cx="77757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9A0ACD1-FC2E-123C-455F-A17C80C8C79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65130" y="2095500"/>
            <a:ext cx="5584111" cy="3663950"/>
          </a:xfrm>
        </p:spPr>
        <p:txBody>
          <a:bodyPr/>
          <a:lstStyle>
            <a:lvl1pPr marL="263525" indent="0">
              <a:defRPr>
                <a:latin typeface="+mn-lt"/>
              </a:defRPr>
            </a:lvl1pPr>
            <a:lvl2pPr marL="442913" indent="-179388">
              <a:defRPr>
                <a:latin typeface="+mn-lt"/>
              </a:defRPr>
            </a:lvl2pPr>
            <a:lvl3pPr marL="263525" indent="0">
              <a:defRPr>
                <a:latin typeface="+mn-lt"/>
              </a:defRPr>
            </a:lvl3pPr>
            <a:lvl4pPr marL="263525" indent="-263525">
              <a:buSzPct val="100000"/>
              <a:buFont typeface="UKCEH Suisse" panose="020B0504000000000000" pitchFamily="34" charset="-78"/>
              <a:buChar char="•"/>
              <a:defRPr>
                <a:latin typeface="+mn-lt"/>
              </a:defRPr>
            </a:lvl4pPr>
            <a:lvl5pPr marL="263525" indent="0">
              <a:defRPr b="1">
                <a:latin typeface="+mn-lt"/>
              </a:defRPr>
            </a:lvl5pPr>
            <a:lvl6pPr marL="263525" indent="0">
              <a:defRPr>
                <a:latin typeface="+mn-lt"/>
              </a:defRPr>
            </a:lvl6pPr>
            <a:lvl7pPr marL="263525" indent="0">
              <a:defRPr>
                <a:latin typeface="+mn-lt"/>
              </a:defRPr>
            </a:lvl7pPr>
            <a:lvl8pPr marL="263525" indent="0">
              <a:defRPr>
                <a:latin typeface="+mn-lt"/>
              </a:defRPr>
            </a:lvl8pPr>
            <a:lvl9pPr marL="263525" indent="0">
              <a:defRPr>
                <a:latin typeface="+mn-lt"/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368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Intro text +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D6047-A25C-7D70-1F8B-67AEFAF6A4E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2095500"/>
            <a:ext cx="4945216" cy="36639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 b="1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1">
                <a:solidFill>
                  <a:schemeClr val="bg1"/>
                </a:solidFill>
                <a:latin typeface="+mn-lt"/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1153525"/>
            <a:ext cx="7775729" cy="465103"/>
          </a:xfrm>
        </p:spPr>
        <p:txBody>
          <a:bodyPr/>
          <a:lstStyle>
            <a:lvl1pPr>
              <a:defRPr sz="4000" spc="-110" baseline="0">
                <a:solidFill>
                  <a:schemeClr val="bg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9A0ACD1-FC2E-123C-455F-A17C80C8C79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65130" y="2095500"/>
            <a:ext cx="5584111" cy="3663950"/>
          </a:xfrm>
        </p:spPr>
        <p:txBody>
          <a:bodyPr/>
          <a:lstStyle>
            <a:lvl1pPr marL="263525" indent="0">
              <a:defRPr>
                <a:solidFill>
                  <a:schemeClr val="bg1"/>
                </a:solidFill>
                <a:latin typeface="+mn-lt"/>
              </a:defRPr>
            </a:lvl1pPr>
            <a:lvl2pPr marL="442913" indent="-179388">
              <a:defRPr>
                <a:solidFill>
                  <a:schemeClr val="bg1"/>
                </a:solidFill>
                <a:latin typeface="+mn-lt"/>
              </a:defRPr>
            </a:lvl2pPr>
            <a:lvl3pPr marL="263525" indent="0">
              <a:defRPr>
                <a:solidFill>
                  <a:schemeClr val="bg1"/>
                </a:solidFill>
                <a:latin typeface="+mn-lt"/>
              </a:defRPr>
            </a:lvl3pPr>
            <a:lvl4pPr marL="263525" indent="-263525">
              <a:buSzPct val="100000"/>
              <a:buFont typeface="UKCEH Suisse" panose="020B0504000000000000" pitchFamily="34" charset="-78"/>
              <a:buChar char="•"/>
              <a:defRPr>
                <a:solidFill>
                  <a:schemeClr val="bg1"/>
                </a:solidFill>
                <a:latin typeface="+mn-lt"/>
              </a:defRPr>
            </a:lvl4pPr>
            <a:lvl5pPr marL="263525" indent="0">
              <a:defRPr b="1">
                <a:solidFill>
                  <a:schemeClr val="bg1"/>
                </a:solidFill>
                <a:latin typeface="+mn-lt"/>
              </a:defRPr>
            </a:lvl5pPr>
            <a:lvl6pPr marL="263525" indent="0">
              <a:defRPr>
                <a:solidFill>
                  <a:schemeClr val="bg1"/>
                </a:solidFill>
                <a:latin typeface="+mn-lt"/>
              </a:defRPr>
            </a:lvl6pPr>
            <a:lvl7pPr marL="263525" indent="0">
              <a:defRPr>
                <a:solidFill>
                  <a:schemeClr val="bg1"/>
                </a:solidFill>
                <a:latin typeface="+mn-lt"/>
              </a:defRPr>
            </a:lvl7pPr>
            <a:lvl8pPr marL="263525" indent="0">
              <a:defRPr>
                <a:solidFill>
                  <a:schemeClr val="bg1"/>
                </a:solidFill>
                <a:latin typeface="+mn-lt"/>
              </a:defRPr>
            </a:lvl8pPr>
            <a:lvl9pPr marL="263525" indent="0">
              <a:defRPr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B1C7523-076C-D32E-9710-7899A9F296B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 presentation title ]</a:t>
            </a:r>
            <a:endParaRPr lang="en-GB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A3F6AD7-838C-AE45-CA60-4023A2202E1E}"/>
              </a:ext>
            </a:extLst>
          </p:cNvPr>
          <p:cNvGrpSpPr/>
          <p:nvPr userDrawn="1"/>
        </p:nvGrpSpPr>
        <p:grpSpPr>
          <a:xfrm>
            <a:off x="143595" y="135785"/>
            <a:ext cx="1089185" cy="288028"/>
            <a:chOff x="143595" y="135785"/>
            <a:chExt cx="1089185" cy="288028"/>
          </a:xfrm>
          <a:solidFill>
            <a:schemeClr val="bg1"/>
          </a:solidFill>
        </p:grpSpPr>
        <p:sp>
          <p:nvSpPr>
            <p:cNvPr id="9" name="object 8">
              <a:extLst>
                <a:ext uri="{FF2B5EF4-FFF2-40B4-BE49-F238E27FC236}">
                  <a16:creationId xmlns:a16="http://schemas.microsoft.com/office/drawing/2014/main" id="{00F0D318-D444-A580-8C5A-9D65D1C36559}"/>
                </a:ext>
              </a:extLst>
            </p:cNvPr>
            <p:cNvSpPr/>
            <p:nvPr userDrawn="1"/>
          </p:nvSpPr>
          <p:spPr>
            <a:xfrm>
              <a:off x="478824" y="191457"/>
              <a:ext cx="753956" cy="175204"/>
            </a:xfrm>
            <a:custGeom>
              <a:avLst/>
              <a:gdLst/>
              <a:ahLst/>
              <a:cxnLst/>
              <a:rect l="l" t="t" r="r" b="b"/>
              <a:pathLst>
                <a:path w="1243330" h="288925">
                  <a:moveTo>
                    <a:pt x="39223" y="4994"/>
                  </a:moveTo>
                  <a:lnTo>
                    <a:pt x="0" y="4994"/>
                  </a:lnTo>
                  <a:lnTo>
                    <a:pt x="0" y="170361"/>
                  </a:lnTo>
                  <a:lnTo>
                    <a:pt x="6495" y="225537"/>
                  </a:lnTo>
                  <a:lnTo>
                    <a:pt x="26582" y="262179"/>
                  </a:lnTo>
                  <a:lnTo>
                    <a:pt x="61163" y="282523"/>
                  </a:lnTo>
                  <a:lnTo>
                    <a:pt x="111137" y="288807"/>
                  </a:lnTo>
                  <a:lnTo>
                    <a:pt x="162919" y="281285"/>
                  </a:lnTo>
                  <a:lnTo>
                    <a:pt x="197719" y="258621"/>
                  </a:lnTo>
                  <a:lnTo>
                    <a:pt x="199605" y="254966"/>
                  </a:lnTo>
                  <a:lnTo>
                    <a:pt x="111137" y="254966"/>
                  </a:lnTo>
                  <a:lnTo>
                    <a:pt x="77840" y="250140"/>
                  </a:lnTo>
                  <a:lnTo>
                    <a:pt x="55571" y="235401"/>
                  </a:lnTo>
                  <a:lnTo>
                    <a:pt x="43106" y="210350"/>
                  </a:lnTo>
                  <a:lnTo>
                    <a:pt x="39223" y="174591"/>
                  </a:lnTo>
                  <a:lnTo>
                    <a:pt x="39223" y="4994"/>
                  </a:lnTo>
                  <a:close/>
                </a:path>
                <a:path w="1243330" h="288925">
                  <a:moveTo>
                    <a:pt x="223438" y="4994"/>
                  </a:moveTo>
                  <a:lnTo>
                    <a:pt x="184214" y="4994"/>
                  </a:lnTo>
                  <a:lnTo>
                    <a:pt x="184214" y="170361"/>
                  </a:lnTo>
                  <a:lnTo>
                    <a:pt x="180314" y="206781"/>
                  </a:lnTo>
                  <a:lnTo>
                    <a:pt x="167725" y="233286"/>
                  </a:lnTo>
                  <a:lnTo>
                    <a:pt x="145111" y="249479"/>
                  </a:lnTo>
                  <a:lnTo>
                    <a:pt x="111137" y="254966"/>
                  </a:lnTo>
                  <a:lnTo>
                    <a:pt x="199605" y="254966"/>
                  </a:lnTo>
                  <a:lnTo>
                    <a:pt x="217302" y="220669"/>
                  </a:lnTo>
                  <a:lnTo>
                    <a:pt x="223438" y="167282"/>
                  </a:lnTo>
                  <a:lnTo>
                    <a:pt x="223438" y="4994"/>
                  </a:lnTo>
                  <a:close/>
                </a:path>
                <a:path w="1243330" h="288925">
                  <a:moveTo>
                    <a:pt x="313037" y="4994"/>
                  </a:moveTo>
                  <a:lnTo>
                    <a:pt x="273813" y="4994"/>
                  </a:lnTo>
                  <a:lnTo>
                    <a:pt x="273813" y="283802"/>
                  </a:lnTo>
                  <a:lnTo>
                    <a:pt x="313037" y="283802"/>
                  </a:lnTo>
                  <a:lnTo>
                    <a:pt x="313037" y="196130"/>
                  </a:lnTo>
                  <a:lnTo>
                    <a:pt x="356879" y="147670"/>
                  </a:lnTo>
                  <a:lnTo>
                    <a:pt x="403714" y="147670"/>
                  </a:lnTo>
                  <a:lnTo>
                    <a:pt x="402092" y="145367"/>
                  </a:lnTo>
                  <a:lnTo>
                    <a:pt x="313037" y="145367"/>
                  </a:lnTo>
                  <a:lnTo>
                    <a:pt x="313037" y="4994"/>
                  </a:lnTo>
                  <a:close/>
                </a:path>
                <a:path w="1243330" h="288925">
                  <a:moveTo>
                    <a:pt x="403714" y="147670"/>
                  </a:moveTo>
                  <a:lnTo>
                    <a:pt x="356879" y="147670"/>
                  </a:lnTo>
                  <a:lnTo>
                    <a:pt x="452635" y="283802"/>
                  </a:lnTo>
                  <a:lnTo>
                    <a:pt x="499555" y="283802"/>
                  </a:lnTo>
                  <a:lnTo>
                    <a:pt x="403714" y="147670"/>
                  </a:lnTo>
                  <a:close/>
                </a:path>
                <a:path w="1243330" h="288925">
                  <a:moveTo>
                    <a:pt x="487639" y="4994"/>
                  </a:moveTo>
                  <a:lnTo>
                    <a:pt x="438792" y="4994"/>
                  </a:lnTo>
                  <a:lnTo>
                    <a:pt x="313037" y="145367"/>
                  </a:lnTo>
                  <a:lnTo>
                    <a:pt x="402092" y="145367"/>
                  </a:lnTo>
                  <a:lnTo>
                    <a:pt x="383412" y="118834"/>
                  </a:lnTo>
                  <a:lnTo>
                    <a:pt x="487639" y="4994"/>
                  </a:lnTo>
                  <a:close/>
                </a:path>
                <a:path w="1243330" h="288925">
                  <a:moveTo>
                    <a:pt x="630692" y="0"/>
                  </a:moveTo>
                  <a:lnTo>
                    <a:pt x="587086" y="6688"/>
                  </a:lnTo>
                  <a:lnTo>
                    <a:pt x="551180" y="25818"/>
                  </a:lnTo>
                  <a:lnTo>
                    <a:pt x="524117" y="55986"/>
                  </a:lnTo>
                  <a:lnTo>
                    <a:pt x="507040" y="95790"/>
                  </a:lnTo>
                  <a:lnTo>
                    <a:pt x="501094" y="143828"/>
                  </a:lnTo>
                  <a:lnTo>
                    <a:pt x="506546" y="191167"/>
                  </a:lnTo>
                  <a:lnTo>
                    <a:pt x="506572" y="191394"/>
                  </a:lnTo>
                  <a:lnTo>
                    <a:pt x="522590" y="231410"/>
                  </a:lnTo>
                  <a:lnTo>
                    <a:pt x="548520" y="262141"/>
                  </a:lnTo>
                  <a:lnTo>
                    <a:pt x="583737" y="281852"/>
                  </a:lnTo>
                  <a:lnTo>
                    <a:pt x="627614" y="288807"/>
                  </a:lnTo>
                  <a:lnTo>
                    <a:pt x="670222" y="282799"/>
                  </a:lnTo>
                  <a:lnTo>
                    <a:pt x="706016" y="264965"/>
                  </a:lnTo>
                  <a:lnTo>
                    <a:pt x="714428" y="255740"/>
                  </a:lnTo>
                  <a:lnTo>
                    <a:pt x="629917" y="255740"/>
                  </a:lnTo>
                  <a:lnTo>
                    <a:pt x="594136" y="248205"/>
                  </a:lnTo>
                  <a:lnTo>
                    <a:pt x="566032" y="226320"/>
                  </a:lnTo>
                  <a:lnTo>
                    <a:pt x="547781" y="191394"/>
                  </a:lnTo>
                  <a:lnTo>
                    <a:pt x="547662" y="191167"/>
                  </a:lnTo>
                  <a:lnTo>
                    <a:pt x="541083" y="143828"/>
                  </a:lnTo>
                  <a:lnTo>
                    <a:pt x="547861" y="96019"/>
                  </a:lnTo>
                  <a:lnTo>
                    <a:pt x="566465" y="61334"/>
                  </a:lnTo>
                  <a:lnTo>
                    <a:pt x="594299" y="40206"/>
                  </a:lnTo>
                  <a:lnTo>
                    <a:pt x="628766" y="33067"/>
                  </a:lnTo>
                  <a:lnTo>
                    <a:pt x="713229" y="33067"/>
                  </a:lnTo>
                  <a:lnTo>
                    <a:pt x="705776" y="24564"/>
                  </a:lnTo>
                  <a:lnTo>
                    <a:pt x="671443" y="6279"/>
                  </a:lnTo>
                  <a:lnTo>
                    <a:pt x="630692" y="0"/>
                  </a:lnTo>
                  <a:close/>
                </a:path>
                <a:path w="1243330" h="288925">
                  <a:moveTo>
                    <a:pt x="748364" y="194978"/>
                  </a:moveTo>
                  <a:lnTo>
                    <a:pt x="710292" y="194978"/>
                  </a:lnTo>
                  <a:lnTo>
                    <a:pt x="700279" y="219557"/>
                  </a:lnTo>
                  <a:lnTo>
                    <a:pt x="683522" y="238768"/>
                  </a:lnTo>
                  <a:lnTo>
                    <a:pt x="660056" y="251275"/>
                  </a:lnTo>
                  <a:lnTo>
                    <a:pt x="629917" y="255740"/>
                  </a:lnTo>
                  <a:lnTo>
                    <a:pt x="714428" y="255740"/>
                  </a:lnTo>
                  <a:lnTo>
                    <a:pt x="732797" y="235595"/>
                  </a:lnTo>
                  <a:lnTo>
                    <a:pt x="748364" y="194978"/>
                  </a:lnTo>
                  <a:close/>
                </a:path>
                <a:path w="1243330" h="288925">
                  <a:moveTo>
                    <a:pt x="713229" y="33067"/>
                  </a:moveTo>
                  <a:lnTo>
                    <a:pt x="628766" y="33067"/>
                  </a:lnTo>
                  <a:lnTo>
                    <a:pt x="658788" y="37640"/>
                  </a:lnTo>
                  <a:lnTo>
                    <a:pt x="682318" y="50325"/>
                  </a:lnTo>
                  <a:lnTo>
                    <a:pt x="699069" y="69572"/>
                  </a:lnTo>
                  <a:lnTo>
                    <a:pt x="708753" y="93829"/>
                  </a:lnTo>
                  <a:lnTo>
                    <a:pt x="746825" y="93829"/>
                  </a:lnTo>
                  <a:lnTo>
                    <a:pt x="731601" y="54024"/>
                  </a:lnTo>
                  <a:lnTo>
                    <a:pt x="713229" y="33067"/>
                  </a:lnTo>
                  <a:close/>
                </a:path>
                <a:path w="1243330" h="288925">
                  <a:moveTo>
                    <a:pt x="975268" y="4994"/>
                  </a:moveTo>
                  <a:lnTo>
                    <a:pt x="786059" y="4994"/>
                  </a:lnTo>
                  <a:lnTo>
                    <a:pt x="786059" y="283802"/>
                  </a:lnTo>
                  <a:lnTo>
                    <a:pt x="975268" y="283802"/>
                  </a:lnTo>
                  <a:lnTo>
                    <a:pt x="975268" y="249971"/>
                  </a:lnTo>
                  <a:lnTo>
                    <a:pt x="825283" y="249971"/>
                  </a:lnTo>
                  <a:lnTo>
                    <a:pt x="825283" y="157283"/>
                  </a:lnTo>
                  <a:lnTo>
                    <a:pt x="966420" y="157283"/>
                  </a:lnTo>
                  <a:lnTo>
                    <a:pt x="966420" y="123441"/>
                  </a:lnTo>
                  <a:lnTo>
                    <a:pt x="825283" y="123441"/>
                  </a:lnTo>
                  <a:lnTo>
                    <a:pt x="825283" y="38836"/>
                  </a:lnTo>
                  <a:lnTo>
                    <a:pt x="975268" y="38836"/>
                  </a:lnTo>
                  <a:lnTo>
                    <a:pt x="975268" y="4994"/>
                  </a:lnTo>
                  <a:close/>
                </a:path>
                <a:path w="1243330" h="288925">
                  <a:moveTo>
                    <a:pt x="1057171" y="4994"/>
                  </a:moveTo>
                  <a:lnTo>
                    <a:pt x="1017948" y="4994"/>
                  </a:lnTo>
                  <a:lnTo>
                    <a:pt x="1017948" y="283802"/>
                  </a:lnTo>
                  <a:lnTo>
                    <a:pt x="1057171" y="283802"/>
                  </a:lnTo>
                  <a:lnTo>
                    <a:pt x="1057171" y="157283"/>
                  </a:lnTo>
                  <a:lnTo>
                    <a:pt x="1242925" y="157283"/>
                  </a:lnTo>
                  <a:lnTo>
                    <a:pt x="1242925" y="123441"/>
                  </a:lnTo>
                  <a:lnTo>
                    <a:pt x="1057171" y="123441"/>
                  </a:lnTo>
                  <a:lnTo>
                    <a:pt x="1057171" y="4994"/>
                  </a:lnTo>
                  <a:close/>
                </a:path>
                <a:path w="1243330" h="288925">
                  <a:moveTo>
                    <a:pt x="1242925" y="157283"/>
                  </a:moveTo>
                  <a:lnTo>
                    <a:pt x="1203701" y="157283"/>
                  </a:lnTo>
                  <a:lnTo>
                    <a:pt x="1203701" y="283802"/>
                  </a:lnTo>
                  <a:lnTo>
                    <a:pt x="1242925" y="283802"/>
                  </a:lnTo>
                  <a:lnTo>
                    <a:pt x="1242925" y="157283"/>
                  </a:lnTo>
                  <a:close/>
                </a:path>
                <a:path w="1243330" h="288925">
                  <a:moveTo>
                    <a:pt x="1242925" y="4994"/>
                  </a:moveTo>
                  <a:lnTo>
                    <a:pt x="1203701" y="4994"/>
                  </a:lnTo>
                  <a:lnTo>
                    <a:pt x="1203701" y="123441"/>
                  </a:lnTo>
                  <a:lnTo>
                    <a:pt x="1242925" y="123441"/>
                  </a:lnTo>
                  <a:lnTo>
                    <a:pt x="1242925" y="4994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object 9">
              <a:extLst>
                <a:ext uri="{FF2B5EF4-FFF2-40B4-BE49-F238E27FC236}">
                  <a16:creationId xmlns:a16="http://schemas.microsoft.com/office/drawing/2014/main" id="{8C35BABA-596E-10CB-570B-CE9634D9EDC7}"/>
                </a:ext>
              </a:extLst>
            </p:cNvPr>
            <p:cNvSpPr/>
            <p:nvPr userDrawn="1"/>
          </p:nvSpPr>
          <p:spPr>
            <a:xfrm>
              <a:off x="143595" y="135785"/>
              <a:ext cx="288028" cy="288028"/>
            </a:xfrm>
            <a:custGeom>
              <a:avLst/>
              <a:gdLst/>
              <a:ahLst/>
              <a:cxnLst/>
              <a:rect l="l" t="t" r="r" b="b"/>
              <a:pathLst>
                <a:path w="474980" h="474980">
                  <a:moveTo>
                    <a:pt x="62826" y="237299"/>
                  </a:moveTo>
                  <a:lnTo>
                    <a:pt x="60350" y="225069"/>
                  </a:lnTo>
                  <a:lnTo>
                    <a:pt x="53619" y="215087"/>
                  </a:lnTo>
                  <a:lnTo>
                    <a:pt x="43637" y="208356"/>
                  </a:lnTo>
                  <a:lnTo>
                    <a:pt x="31407" y="205879"/>
                  </a:lnTo>
                  <a:lnTo>
                    <a:pt x="19177" y="208356"/>
                  </a:lnTo>
                  <a:lnTo>
                    <a:pt x="9194" y="215087"/>
                  </a:lnTo>
                  <a:lnTo>
                    <a:pt x="2463" y="225069"/>
                  </a:lnTo>
                  <a:lnTo>
                    <a:pt x="0" y="237299"/>
                  </a:lnTo>
                  <a:lnTo>
                    <a:pt x="2463" y="249516"/>
                  </a:lnTo>
                  <a:lnTo>
                    <a:pt x="9194" y="259499"/>
                  </a:lnTo>
                  <a:lnTo>
                    <a:pt x="19177" y="266230"/>
                  </a:lnTo>
                  <a:lnTo>
                    <a:pt x="31407" y="268693"/>
                  </a:lnTo>
                  <a:lnTo>
                    <a:pt x="43637" y="266230"/>
                  </a:lnTo>
                  <a:lnTo>
                    <a:pt x="53619" y="259499"/>
                  </a:lnTo>
                  <a:lnTo>
                    <a:pt x="60350" y="249516"/>
                  </a:lnTo>
                  <a:lnTo>
                    <a:pt x="62826" y="237299"/>
                  </a:lnTo>
                  <a:close/>
                </a:path>
                <a:path w="474980" h="474980">
                  <a:moveTo>
                    <a:pt x="90170" y="336346"/>
                  </a:moveTo>
                  <a:lnTo>
                    <a:pt x="86194" y="324523"/>
                  </a:lnTo>
                  <a:lnTo>
                    <a:pt x="77939" y="315175"/>
                  </a:lnTo>
                  <a:lnTo>
                    <a:pt x="67119" y="309892"/>
                  </a:lnTo>
                  <a:lnTo>
                    <a:pt x="55118" y="309054"/>
                  </a:lnTo>
                  <a:lnTo>
                    <a:pt x="43294" y="313029"/>
                  </a:lnTo>
                  <a:lnTo>
                    <a:pt x="33934" y="321284"/>
                  </a:lnTo>
                  <a:lnTo>
                    <a:pt x="28651" y="332105"/>
                  </a:lnTo>
                  <a:lnTo>
                    <a:pt x="27813" y="344106"/>
                  </a:lnTo>
                  <a:lnTo>
                    <a:pt x="31788" y="355930"/>
                  </a:lnTo>
                  <a:lnTo>
                    <a:pt x="40043" y="365290"/>
                  </a:lnTo>
                  <a:lnTo>
                    <a:pt x="50863" y="370560"/>
                  </a:lnTo>
                  <a:lnTo>
                    <a:pt x="62877" y="371398"/>
                  </a:lnTo>
                  <a:lnTo>
                    <a:pt x="74701" y="367423"/>
                  </a:lnTo>
                  <a:lnTo>
                    <a:pt x="84048" y="359181"/>
                  </a:lnTo>
                  <a:lnTo>
                    <a:pt x="89331" y="348361"/>
                  </a:lnTo>
                  <a:lnTo>
                    <a:pt x="90170" y="336346"/>
                  </a:lnTo>
                  <a:close/>
                </a:path>
                <a:path w="474980" h="474980">
                  <a:moveTo>
                    <a:pt x="90170" y="138239"/>
                  </a:moveTo>
                  <a:lnTo>
                    <a:pt x="89331" y="126225"/>
                  </a:lnTo>
                  <a:lnTo>
                    <a:pt x="84048" y="115404"/>
                  </a:lnTo>
                  <a:lnTo>
                    <a:pt x="74701" y="107149"/>
                  </a:lnTo>
                  <a:lnTo>
                    <a:pt x="62877" y="103174"/>
                  </a:lnTo>
                  <a:lnTo>
                    <a:pt x="50863" y="104013"/>
                  </a:lnTo>
                  <a:lnTo>
                    <a:pt x="40043" y="109296"/>
                  </a:lnTo>
                  <a:lnTo>
                    <a:pt x="31800" y="118656"/>
                  </a:lnTo>
                  <a:lnTo>
                    <a:pt x="27813" y="130479"/>
                  </a:lnTo>
                  <a:lnTo>
                    <a:pt x="28651" y="142481"/>
                  </a:lnTo>
                  <a:lnTo>
                    <a:pt x="33934" y="153301"/>
                  </a:lnTo>
                  <a:lnTo>
                    <a:pt x="43281" y="161556"/>
                  </a:lnTo>
                  <a:lnTo>
                    <a:pt x="55105" y="165519"/>
                  </a:lnTo>
                  <a:lnTo>
                    <a:pt x="67119" y="164693"/>
                  </a:lnTo>
                  <a:lnTo>
                    <a:pt x="77939" y="159410"/>
                  </a:lnTo>
                  <a:lnTo>
                    <a:pt x="86194" y="150050"/>
                  </a:lnTo>
                  <a:lnTo>
                    <a:pt x="90170" y="138239"/>
                  </a:lnTo>
                  <a:close/>
                </a:path>
                <a:path w="474980" h="474980">
                  <a:moveTo>
                    <a:pt x="141947" y="237286"/>
                  </a:moveTo>
                  <a:lnTo>
                    <a:pt x="140106" y="228117"/>
                  </a:lnTo>
                  <a:lnTo>
                    <a:pt x="135051" y="220637"/>
                  </a:lnTo>
                  <a:lnTo>
                    <a:pt x="127571" y="215582"/>
                  </a:lnTo>
                  <a:lnTo>
                    <a:pt x="118402" y="213741"/>
                  </a:lnTo>
                  <a:lnTo>
                    <a:pt x="109232" y="215582"/>
                  </a:lnTo>
                  <a:lnTo>
                    <a:pt x="101752" y="220637"/>
                  </a:lnTo>
                  <a:lnTo>
                    <a:pt x="96697" y="228117"/>
                  </a:lnTo>
                  <a:lnTo>
                    <a:pt x="94856" y="237286"/>
                  </a:lnTo>
                  <a:lnTo>
                    <a:pt x="96697" y="246456"/>
                  </a:lnTo>
                  <a:lnTo>
                    <a:pt x="101752" y="253949"/>
                  </a:lnTo>
                  <a:lnTo>
                    <a:pt x="109232" y="258991"/>
                  </a:lnTo>
                  <a:lnTo>
                    <a:pt x="118402" y="260845"/>
                  </a:lnTo>
                  <a:lnTo>
                    <a:pt x="127571" y="258991"/>
                  </a:lnTo>
                  <a:lnTo>
                    <a:pt x="135051" y="253949"/>
                  </a:lnTo>
                  <a:lnTo>
                    <a:pt x="140106" y="246456"/>
                  </a:lnTo>
                  <a:lnTo>
                    <a:pt x="141947" y="237286"/>
                  </a:lnTo>
                  <a:close/>
                </a:path>
                <a:path w="474980" h="474980">
                  <a:moveTo>
                    <a:pt x="165519" y="419468"/>
                  </a:moveTo>
                  <a:lnTo>
                    <a:pt x="164680" y="407454"/>
                  </a:lnTo>
                  <a:lnTo>
                    <a:pt x="159397" y="396633"/>
                  </a:lnTo>
                  <a:lnTo>
                    <a:pt x="150050" y="388378"/>
                  </a:lnTo>
                  <a:lnTo>
                    <a:pt x="138226" y="384403"/>
                  </a:lnTo>
                  <a:lnTo>
                    <a:pt x="126212" y="385241"/>
                  </a:lnTo>
                  <a:lnTo>
                    <a:pt x="115392" y="390525"/>
                  </a:lnTo>
                  <a:lnTo>
                    <a:pt x="107149" y="399884"/>
                  </a:lnTo>
                  <a:lnTo>
                    <a:pt x="103174" y="411708"/>
                  </a:lnTo>
                  <a:lnTo>
                    <a:pt x="104013" y="423710"/>
                  </a:lnTo>
                  <a:lnTo>
                    <a:pt x="109296" y="434530"/>
                  </a:lnTo>
                  <a:lnTo>
                    <a:pt x="118643" y="442785"/>
                  </a:lnTo>
                  <a:lnTo>
                    <a:pt x="130467" y="446760"/>
                  </a:lnTo>
                  <a:lnTo>
                    <a:pt x="142481" y="445922"/>
                  </a:lnTo>
                  <a:lnTo>
                    <a:pt x="153301" y="440639"/>
                  </a:lnTo>
                  <a:lnTo>
                    <a:pt x="161544" y="431292"/>
                  </a:lnTo>
                  <a:lnTo>
                    <a:pt x="165519" y="419468"/>
                  </a:lnTo>
                  <a:close/>
                </a:path>
                <a:path w="474980" h="474980">
                  <a:moveTo>
                    <a:pt x="165519" y="55118"/>
                  </a:moveTo>
                  <a:lnTo>
                    <a:pt x="161544" y="43294"/>
                  </a:lnTo>
                  <a:lnTo>
                    <a:pt x="153301" y="33947"/>
                  </a:lnTo>
                  <a:lnTo>
                    <a:pt x="142481" y="28663"/>
                  </a:lnTo>
                  <a:lnTo>
                    <a:pt x="130467" y="27825"/>
                  </a:lnTo>
                  <a:lnTo>
                    <a:pt x="118643" y="31800"/>
                  </a:lnTo>
                  <a:lnTo>
                    <a:pt x="109296" y="40043"/>
                  </a:lnTo>
                  <a:lnTo>
                    <a:pt x="104013" y="50876"/>
                  </a:lnTo>
                  <a:lnTo>
                    <a:pt x="103174" y="62890"/>
                  </a:lnTo>
                  <a:lnTo>
                    <a:pt x="107149" y="74714"/>
                  </a:lnTo>
                  <a:lnTo>
                    <a:pt x="115404" y="84061"/>
                  </a:lnTo>
                  <a:lnTo>
                    <a:pt x="126212" y="89331"/>
                  </a:lnTo>
                  <a:lnTo>
                    <a:pt x="138226" y="90170"/>
                  </a:lnTo>
                  <a:lnTo>
                    <a:pt x="150050" y="86194"/>
                  </a:lnTo>
                  <a:lnTo>
                    <a:pt x="159410" y="77952"/>
                  </a:lnTo>
                  <a:lnTo>
                    <a:pt x="164680" y="67132"/>
                  </a:lnTo>
                  <a:lnTo>
                    <a:pt x="165519" y="55118"/>
                  </a:lnTo>
                  <a:close/>
                </a:path>
                <a:path w="474980" h="474980">
                  <a:moveTo>
                    <a:pt x="176771" y="321348"/>
                  </a:moveTo>
                  <a:lnTo>
                    <a:pt x="175056" y="312483"/>
                  </a:lnTo>
                  <a:lnTo>
                    <a:pt x="169875" y="304698"/>
                  </a:lnTo>
                  <a:lnTo>
                    <a:pt x="162077" y="299529"/>
                  </a:lnTo>
                  <a:lnTo>
                    <a:pt x="153225" y="297802"/>
                  </a:lnTo>
                  <a:lnTo>
                    <a:pt x="144360" y="299529"/>
                  </a:lnTo>
                  <a:lnTo>
                    <a:pt x="136563" y="304698"/>
                  </a:lnTo>
                  <a:lnTo>
                    <a:pt x="131394" y="312483"/>
                  </a:lnTo>
                  <a:lnTo>
                    <a:pt x="129667" y="321348"/>
                  </a:lnTo>
                  <a:lnTo>
                    <a:pt x="131394" y="330212"/>
                  </a:lnTo>
                  <a:lnTo>
                    <a:pt x="136563" y="338010"/>
                  </a:lnTo>
                  <a:lnTo>
                    <a:pt x="144360" y="343179"/>
                  </a:lnTo>
                  <a:lnTo>
                    <a:pt x="153225" y="344906"/>
                  </a:lnTo>
                  <a:lnTo>
                    <a:pt x="162077" y="343179"/>
                  </a:lnTo>
                  <a:lnTo>
                    <a:pt x="169875" y="338010"/>
                  </a:lnTo>
                  <a:lnTo>
                    <a:pt x="175056" y="330212"/>
                  </a:lnTo>
                  <a:lnTo>
                    <a:pt x="176771" y="321348"/>
                  </a:lnTo>
                  <a:close/>
                </a:path>
                <a:path w="474980" h="474980">
                  <a:moveTo>
                    <a:pt x="176784" y="153225"/>
                  </a:moveTo>
                  <a:lnTo>
                    <a:pt x="175056" y="144360"/>
                  </a:lnTo>
                  <a:lnTo>
                    <a:pt x="169875" y="136575"/>
                  </a:lnTo>
                  <a:lnTo>
                    <a:pt x="162090" y="131394"/>
                  </a:lnTo>
                  <a:lnTo>
                    <a:pt x="153225" y="129679"/>
                  </a:lnTo>
                  <a:lnTo>
                    <a:pt x="144360" y="131394"/>
                  </a:lnTo>
                  <a:lnTo>
                    <a:pt x="136575" y="136575"/>
                  </a:lnTo>
                  <a:lnTo>
                    <a:pt x="131394" y="144360"/>
                  </a:lnTo>
                  <a:lnTo>
                    <a:pt x="129667" y="153225"/>
                  </a:lnTo>
                  <a:lnTo>
                    <a:pt x="131394" y="162090"/>
                  </a:lnTo>
                  <a:lnTo>
                    <a:pt x="136575" y="169875"/>
                  </a:lnTo>
                  <a:lnTo>
                    <a:pt x="144360" y="175056"/>
                  </a:lnTo>
                  <a:lnTo>
                    <a:pt x="153225" y="176784"/>
                  </a:lnTo>
                  <a:lnTo>
                    <a:pt x="162090" y="175056"/>
                  </a:lnTo>
                  <a:lnTo>
                    <a:pt x="169875" y="169875"/>
                  </a:lnTo>
                  <a:lnTo>
                    <a:pt x="175056" y="162090"/>
                  </a:lnTo>
                  <a:lnTo>
                    <a:pt x="176784" y="153225"/>
                  </a:lnTo>
                  <a:close/>
                </a:path>
                <a:path w="474980" h="474980">
                  <a:moveTo>
                    <a:pt x="209016" y="261874"/>
                  </a:moveTo>
                  <a:lnTo>
                    <a:pt x="201853" y="249478"/>
                  </a:lnTo>
                  <a:lnTo>
                    <a:pt x="193941" y="247357"/>
                  </a:lnTo>
                  <a:lnTo>
                    <a:pt x="187744" y="250939"/>
                  </a:lnTo>
                  <a:lnTo>
                    <a:pt x="181546" y="254520"/>
                  </a:lnTo>
                  <a:lnTo>
                    <a:pt x="179412" y="262432"/>
                  </a:lnTo>
                  <a:lnTo>
                    <a:pt x="186575" y="274828"/>
                  </a:lnTo>
                  <a:lnTo>
                    <a:pt x="194500" y="276961"/>
                  </a:lnTo>
                  <a:lnTo>
                    <a:pt x="206895" y="269798"/>
                  </a:lnTo>
                  <a:lnTo>
                    <a:pt x="209016" y="261874"/>
                  </a:lnTo>
                  <a:close/>
                </a:path>
                <a:path w="474980" h="474980">
                  <a:moveTo>
                    <a:pt x="209016" y="212699"/>
                  </a:moveTo>
                  <a:lnTo>
                    <a:pt x="206895" y="204787"/>
                  </a:lnTo>
                  <a:lnTo>
                    <a:pt x="200698" y="201206"/>
                  </a:lnTo>
                  <a:lnTo>
                    <a:pt x="194500" y="197624"/>
                  </a:lnTo>
                  <a:lnTo>
                    <a:pt x="186575" y="199745"/>
                  </a:lnTo>
                  <a:lnTo>
                    <a:pt x="179425" y="212153"/>
                  </a:lnTo>
                  <a:lnTo>
                    <a:pt x="181546" y="220078"/>
                  </a:lnTo>
                  <a:lnTo>
                    <a:pt x="193941" y="227228"/>
                  </a:lnTo>
                  <a:lnTo>
                    <a:pt x="201853" y="225107"/>
                  </a:lnTo>
                  <a:lnTo>
                    <a:pt x="209016" y="212699"/>
                  </a:lnTo>
                  <a:close/>
                </a:path>
                <a:path w="474980" h="474980">
                  <a:moveTo>
                    <a:pt x="250240" y="279869"/>
                  </a:moveTo>
                  <a:lnTo>
                    <a:pt x="244449" y="274066"/>
                  </a:lnTo>
                  <a:lnTo>
                    <a:pt x="230136" y="274066"/>
                  </a:lnTo>
                  <a:lnTo>
                    <a:pt x="224332" y="279869"/>
                  </a:lnTo>
                  <a:lnTo>
                    <a:pt x="224332" y="287020"/>
                  </a:lnTo>
                  <a:lnTo>
                    <a:pt x="224332" y="294170"/>
                  </a:lnTo>
                  <a:lnTo>
                    <a:pt x="230136" y="299974"/>
                  </a:lnTo>
                  <a:lnTo>
                    <a:pt x="244449" y="299974"/>
                  </a:lnTo>
                  <a:lnTo>
                    <a:pt x="250240" y="294170"/>
                  </a:lnTo>
                  <a:lnTo>
                    <a:pt x="250240" y="279869"/>
                  </a:lnTo>
                  <a:close/>
                </a:path>
                <a:path w="474980" h="474980">
                  <a:moveTo>
                    <a:pt x="250240" y="180416"/>
                  </a:moveTo>
                  <a:lnTo>
                    <a:pt x="244436" y="174612"/>
                  </a:lnTo>
                  <a:lnTo>
                    <a:pt x="230124" y="174612"/>
                  </a:lnTo>
                  <a:lnTo>
                    <a:pt x="224332" y="180416"/>
                  </a:lnTo>
                  <a:lnTo>
                    <a:pt x="224332" y="194716"/>
                  </a:lnTo>
                  <a:lnTo>
                    <a:pt x="230124" y="200520"/>
                  </a:lnTo>
                  <a:lnTo>
                    <a:pt x="244436" y="200520"/>
                  </a:lnTo>
                  <a:lnTo>
                    <a:pt x="250240" y="194716"/>
                  </a:lnTo>
                  <a:lnTo>
                    <a:pt x="250240" y="187566"/>
                  </a:lnTo>
                  <a:lnTo>
                    <a:pt x="250240" y="180416"/>
                  </a:lnTo>
                  <a:close/>
                </a:path>
                <a:path w="474980" h="474980">
                  <a:moveTo>
                    <a:pt x="260832" y="356171"/>
                  </a:moveTo>
                  <a:lnTo>
                    <a:pt x="258991" y="347002"/>
                  </a:lnTo>
                  <a:lnTo>
                    <a:pt x="253936" y="339521"/>
                  </a:lnTo>
                  <a:lnTo>
                    <a:pt x="246456" y="334479"/>
                  </a:lnTo>
                  <a:lnTo>
                    <a:pt x="237274" y="332625"/>
                  </a:lnTo>
                  <a:lnTo>
                    <a:pt x="228117" y="334479"/>
                  </a:lnTo>
                  <a:lnTo>
                    <a:pt x="220624" y="339521"/>
                  </a:lnTo>
                  <a:lnTo>
                    <a:pt x="215582" y="347002"/>
                  </a:lnTo>
                  <a:lnTo>
                    <a:pt x="213728" y="356171"/>
                  </a:lnTo>
                  <a:lnTo>
                    <a:pt x="215582" y="365340"/>
                  </a:lnTo>
                  <a:lnTo>
                    <a:pt x="220624" y="372833"/>
                  </a:lnTo>
                  <a:lnTo>
                    <a:pt x="228117" y="377875"/>
                  </a:lnTo>
                  <a:lnTo>
                    <a:pt x="237274" y="379717"/>
                  </a:lnTo>
                  <a:lnTo>
                    <a:pt x="246456" y="377875"/>
                  </a:lnTo>
                  <a:lnTo>
                    <a:pt x="253936" y="372833"/>
                  </a:lnTo>
                  <a:lnTo>
                    <a:pt x="258991" y="365340"/>
                  </a:lnTo>
                  <a:lnTo>
                    <a:pt x="260832" y="356171"/>
                  </a:lnTo>
                  <a:close/>
                </a:path>
                <a:path w="474980" h="474980">
                  <a:moveTo>
                    <a:pt x="260845" y="118402"/>
                  </a:moveTo>
                  <a:lnTo>
                    <a:pt x="258991" y="109245"/>
                  </a:lnTo>
                  <a:lnTo>
                    <a:pt x="253936" y="101752"/>
                  </a:lnTo>
                  <a:lnTo>
                    <a:pt x="246456" y="96710"/>
                  </a:lnTo>
                  <a:lnTo>
                    <a:pt x="237286" y="94856"/>
                  </a:lnTo>
                  <a:lnTo>
                    <a:pt x="228117" y="96710"/>
                  </a:lnTo>
                  <a:lnTo>
                    <a:pt x="220637" y="101752"/>
                  </a:lnTo>
                  <a:lnTo>
                    <a:pt x="215582" y="109245"/>
                  </a:lnTo>
                  <a:lnTo>
                    <a:pt x="213728" y="118402"/>
                  </a:lnTo>
                  <a:lnTo>
                    <a:pt x="215582" y="127584"/>
                  </a:lnTo>
                  <a:lnTo>
                    <a:pt x="220637" y="135064"/>
                  </a:lnTo>
                  <a:lnTo>
                    <a:pt x="228117" y="140119"/>
                  </a:lnTo>
                  <a:lnTo>
                    <a:pt x="237286" y="141960"/>
                  </a:lnTo>
                  <a:lnTo>
                    <a:pt x="246456" y="140119"/>
                  </a:lnTo>
                  <a:lnTo>
                    <a:pt x="253936" y="135064"/>
                  </a:lnTo>
                  <a:lnTo>
                    <a:pt x="258991" y="127584"/>
                  </a:lnTo>
                  <a:lnTo>
                    <a:pt x="260845" y="118402"/>
                  </a:lnTo>
                  <a:close/>
                </a:path>
                <a:path w="474980" h="474980">
                  <a:moveTo>
                    <a:pt x="268693" y="443166"/>
                  </a:moveTo>
                  <a:lnTo>
                    <a:pt x="266230" y="430936"/>
                  </a:lnTo>
                  <a:lnTo>
                    <a:pt x="259499" y="420954"/>
                  </a:lnTo>
                  <a:lnTo>
                    <a:pt x="249516" y="414223"/>
                  </a:lnTo>
                  <a:lnTo>
                    <a:pt x="237286" y="411746"/>
                  </a:lnTo>
                  <a:lnTo>
                    <a:pt x="225069" y="414223"/>
                  </a:lnTo>
                  <a:lnTo>
                    <a:pt x="215074" y="420954"/>
                  </a:lnTo>
                  <a:lnTo>
                    <a:pt x="208343" y="430936"/>
                  </a:lnTo>
                  <a:lnTo>
                    <a:pt x="205879" y="443166"/>
                  </a:lnTo>
                  <a:lnTo>
                    <a:pt x="208343" y="455396"/>
                  </a:lnTo>
                  <a:lnTo>
                    <a:pt x="215074" y="465378"/>
                  </a:lnTo>
                  <a:lnTo>
                    <a:pt x="225069" y="472109"/>
                  </a:lnTo>
                  <a:lnTo>
                    <a:pt x="237286" y="474573"/>
                  </a:lnTo>
                  <a:lnTo>
                    <a:pt x="249516" y="472109"/>
                  </a:lnTo>
                  <a:lnTo>
                    <a:pt x="259499" y="465378"/>
                  </a:lnTo>
                  <a:lnTo>
                    <a:pt x="266230" y="455396"/>
                  </a:lnTo>
                  <a:lnTo>
                    <a:pt x="268693" y="443166"/>
                  </a:lnTo>
                  <a:close/>
                </a:path>
                <a:path w="474980" h="474980">
                  <a:moveTo>
                    <a:pt x="268693" y="31419"/>
                  </a:moveTo>
                  <a:lnTo>
                    <a:pt x="266230" y="19189"/>
                  </a:lnTo>
                  <a:lnTo>
                    <a:pt x="259486" y="9207"/>
                  </a:lnTo>
                  <a:lnTo>
                    <a:pt x="249504" y="2476"/>
                  </a:lnTo>
                  <a:lnTo>
                    <a:pt x="237274" y="0"/>
                  </a:lnTo>
                  <a:lnTo>
                    <a:pt x="225056" y="2476"/>
                  </a:lnTo>
                  <a:lnTo>
                    <a:pt x="215074" y="9207"/>
                  </a:lnTo>
                  <a:lnTo>
                    <a:pt x="208343" y="19189"/>
                  </a:lnTo>
                  <a:lnTo>
                    <a:pt x="205879" y="31419"/>
                  </a:lnTo>
                  <a:lnTo>
                    <a:pt x="208343" y="43649"/>
                  </a:lnTo>
                  <a:lnTo>
                    <a:pt x="215074" y="53632"/>
                  </a:lnTo>
                  <a:lnTo>
                    <a:pt x="225056" y="60363"/>
                  </a:lnTo>
                  <a:lnTo>
                    <a:pt x="237274" y="62826"/>
                  </a:lnTo>
                  <a:lnTo>
                    <a:pt x="249504" y="60363"/>
                  </a:lnTo>
                  <a:lnTo>
                    <a:pt x="259486" y="53632"/>
                  </a:lnTo>
                  <a:lnTo>
                    <a:pt x="266230" y="43649"/>
                  </a:lnTo>
                  <a:lnTo>
                    <a:pt x="268693" y="31419"/>
                  </a:lnTo>
                  <a:close/>
                </a:path>
                <a:path w="474980" h="474980">
                  <a:moveTo>
                    <a:pt x="295148" y="262432"/>
                  </a:moveTo>
                  <a:lnTo>
                    <a:pt x="293027" y="254508"/>
                  </a:lnTo>
                  <a:lnTo>
                    <a:pt x="280631" y="247357"/>
                  </a:lnTo>
                  <a:lnTo>
                    <a:pt x="272707" y="249478"/>
                  </a:lnTo>
                  <a:lnTo>
                    <a:pt x="265544" y="261874"/>
                  </a:lnTo>
                  <a:lnTo>
                    <a:pt x="267677" y="269798"/>
                  </a:lnTo>
                  <a:lnTo>
                    <a:pt x="273875" y="273380"/>
                  </a:lnTo>
                  <a:lnTo>
                    <a:pt x="280073" y="276961"/>
                  </a:lnTo>
                  <a:lnTo>
                    <a:pt x="287985" y="274828"/>
                  </a:lnTo>
                  <a:lnTo>
                    <a:pt x="295148" y="262432"/>
                  </a:lnTo>
                  <a:close/>
                </a:path>
                <a:path w="474980" h="474980">
                  <a:moveTo>
                    <a:pt x="295148" y="212153"/>
                  </a:moveTo>
                  <a:lnTo>
                    <a:pt x="287985" y="199758"/>
                  </a:lnTo>
                  <a:lnTo>
                    <a:pt x="280073" y="197624"/>
                  </a:lnTo>
                  <a:lnTo>
                    <a:pt x="267677" y="204774"/>
                  </a:lnTo>
                  <a:lnTo>
                    <a:pt x="265557" y="212699"/>
                  </a:lnTo>
                  <a:lnTo>
                    <a:pt x="272707" y="225107"/>
                  </a:lnTo>
                  <a:lnTo>
                    <a:pt x="280631" y="227228"/>
                  </a:lnTo>
                  <a:lnTo>
                    <a:pt x="286829" y="223647"/>
                  </a:lnTo>
                  <a:lnTo>
                    <a:pt x="293027" y="220065"/>
                  </a:lnTo>
                  <a:lnTo>
                    <a:pt x="295148" y="212153"/>
                  </a:lnTo>
                  <a:close/>
                </a:path>
                <a:path w="474980" h="474980">
                  <a:moveTo>
                    <a:pt x="344893" y="153225"/>
                  </a:moveTo>
                  <a:lnTo>
                    <a:pt x="343179" y="144360"/>
                  </a:lnTo>
                  <a:lnTo>
                    <a:pt x="338010" y="136575"/>
                  </a:lnTo>
                  <a:lnTo>
                    <a:pt x="330212" y="131394"/>
                  </a:lnTo>
                  <a:lnTo>
                    <a:pt x="321348" y="129667"/>
                  </a:lnTo>
                  <a:lnTo>
                    <a:pt x="312483" y="131394"/>
                  </a:lnTo>
                  <a:lnTo>
                    <a:pt x="304698" y="136575"/>
                  </a:lnTo>
                  <a:lnTo>
                    <a:pt x="299516" y="144360"/>
                  </a:lnTo>
                  <a:lnTo>
                    <a:pt x="297789" y="153225"/>
                  </a:lnTo>
                  <a:lnTo>
                    <a:pt x="299516" y="162090"/>
                  </a:lnTo>
                  <a:lnTo>
                    <a:pt x="304698" y="169887"/>
                  </a:lnTo>
                  <a:lnTo>
                    <a:pt x="312483" y="175056"/>
                  </a:lnTo>
                  <a:lnTo>
                    <a:pt x="321348" y="176784"/>
                  </a:lnTo>
                  <a:lnTo>
                    <a:pt x="330212" y="175056"/>
                  </a:lnTo>
                  <a:lnTo>
                    <a:pt x="338010" y="169887"/>
                  </a:lnTo>
                  <a:lnTo>
                    <a:pt x="343179" y="162090"/>
                  </a:lnTo>
                  <a:lnTo>
                    <a:pt x="344893" y="153225"/>
                  </a:lnTo>
                  <a:close/>
                </a:path>
                <a:path w="474980" h="474980">
                  <a:moveTo>
                    <a:pt x="344906" y="321348"/>
                  </a:moveTo>
                  <a:lnTo>
                    <a:pt x="343179" y="312496"/>
                  </a:lnTo>
                  <a:lnTo>
                    <a:pt x="337997" y="304698"/>
                  </a:lnTo>
                  <a:lnTo>
                    <a:pt x="330212" y="299529"/>
                  </a:lnTo>
                  <a:lnTo>
                    <a:pt x="321348" y="297802"/>
                  </a:lnTo>
                  <a:lnTo>
                    <a:pt x="312483" y="299529"/>
                  </a:lnTo>
                  <a:lnTo>
                    <a:pt x="304698" y="304698"/>
                  </a:lnTo>
                  <a:lnTo>
                    <a:pt x="299516" y="312496"/>
                  </a:lnTo>
                  <a:lnTo>
                    <a:pt x="297802" y="321348"/>
                  </a:lnTo>
                  <a:lnTo>
                    <a:pt x="299516" y="330212"/>
                  </a:lnTo>
                  <a:lnTo>
                    <a:pt x="304698" y="338010"/>
                  </a:lnTo>
                  <a:lnTo>
                    <a:pt x="312483" y="343179"/>
                  </a:lnTo>
                  <a:lnTo>
                    <a:pt x="321348" y="344906"/>
                  </a:lnTo>
                  <a:lnTo>
                    <a:pt x="330212" y="343179"/>
                  </a:lnTo>
                  <a:lnTo>
                    <a:pt x="337997" y="338010"/>
                  </a:lnTo>
                  <a:lnTo>
                    <a:pt x="343179" y="330212"/>
                  </a:lnTo>
                  <a:lnTo>
                    <a:pt x="344906" y="321348"/>
                  </a:lnTo>
                  <a:close/>
                </a:path>
                <a:path w="474980" h="474980">
                  <a:moveTo>
                    <a:pt x="371398" y="411695"/>
                  </a:moveTo>
                  <a:lnTo>
                    <a:pt x="367423" y="399872"/>
                  </a:lnTo>
                  <a:lnTo>
                    <a:pt x="359168" y="390525"/>
                  </a:lnTo>
                  <a:lnTo>
                    <a:pt x="348348" y="385241"/>
                  </a:lnTo>
                  <a:lnTo>
                    <a:pt x="336346" y="384403"/>
                  </a:lnTo>
                  <a:lnTo>
                    <a:pt x="324523" y="388391"/>
                  </a:lnTo>
                  <a:lnTo>
                    <a:pt x="315163" y="396633"/>
                  </a:lnTo>
                  <a:lnTo>
                    <a:pt x="309880" y="407454"/>
                  </a:lnTo>
                  <a:lnTo>
                    <a:pt x="309054" y="419468"/>
                  </a:lnTo>
                  <a:lnTo>
                    <a:pt x="313016" y="431292"/>
                  </a:lnTo>
                  <a:lnTo>
                    <a:pt x="321271" y="440639"/>
                  </a:lnTo>
                  <a:lnTo>
                    <a:pt x="332092" y="445922"/>
                  </a:lnTo>
                  <a:lnTo>
                    <a:pt x="344106" y="446760"/>
                  </a:lnTo>
                  <a:lnTo>
                    <a:pt x="355917" y="442785"/>
                  </a:lnTo>
                  <a:lnTo>
                    <a:pt x="365277" y="434530"/>
                  </a:lnTo>
                  <a:lnTo>
                    <a:pt x="370560" y="423710"/>
                  </a:lnTo>
                  <a:lnTo>
                    <a:pt x="371398" y="411695"/>
                  </a:lnTo>
                  <a:close/>
                </a:path>
                <a:path w="474980" h="474980">
                  <a:moveTo>
                    <a:pt x="371398" y="62877"/>
                  </a:moveTo>
                  <a:lnTo>
                    <a:pt x="370560" y="50863"/>
                  </a:lnTo>
                  <a:lnTo>
                    <a:pt x="365277" y="40055"/>
                  </a:lnTo>
                  <a:lnTo>
                    <a:pt x="355930" y="31800"/>
                  </a:lnTo>
                  <a:lnTo>
                    <a:pt x="344106" y="27825"/>
                  </a:lnTo>
                  <a:lnTo>
                    <a:pt x="332092" y="28663"/>
                  </a:lnTo>
                  <a:lnTo>
                    <a:pt x="321271" y="33934"/>
                  </a:lnTo>
                  <a:lnTo>
                    <a:pt x="313029" y="43294"/>
                  </a:lnTo>
                  <a:lnTo>
                    <a:pt x="309054" y="55118"/>
                  </a:lnTo>
                  <a:lnTo>
                    <a:pt x="309892" y="67132"/>
                  </a:lnTo>
                  <a:lnTo>
                    <a:pt x="315163" y="77952"/>
                  </a:lnTo>
                  <a:lnTo>
                    <a:pt x="324523" y="86194"/>
                  </a:lnTo>
                  <a:lnTo>
                    <a:pt x="336346" y="90170"/>
                  </a:lnTo>
                  <a:lnTo>
                    <a:pt x="348348" y="89331"/>
                  </a:lnTo>
                  <a:lnTo>
                    <a:pt x="359168" y="84061"/>
                  </a:lnTo>
                  <a:lnTo>
                    <a:pt x="367423" y="74701"/>
                  </a:lnTo>
                  <a:lnTo>
                    <a:pt x="371398" y="62877"/>
                  </a:lnTo>
                  <a:close/>
                </a:path>
                <a:path w="474980" h="474980">
                  <a:moveTo>
                    <a:pt x="379717" y="237286"/>
                  </a:moveTo>
                  <a:lnTo>
                    <a:pt x="377863" y="228117"/>
                  </a:lnTo>
                  <a:lnTo>
                    <a:pt x="372821" y="220637"/>
                  </a:lnTo>
                  <a:lnTo>
                    <a:pt x="365340" y="215582"/>
                  </a:lnTo>
                  <a:lnTo>
                    <a:pt x="356171" y="213741"/>
                  </a:lnTo>
                  <a:lnTo>
                    <a:pt x="347002" y="215582"/>
                  </a:lnTo>
                  <a:lnTo>
                    <a:pt x="339509" y="220637"/>
                  </a:lnTo>
                  <a:lnTo>
                    <a:pt x="334467" y="228117"/>
                  </a:lnTo>
                  <a:lnTo>
                    <a:pt x="332625" y="237286"/>
                  </a:lnTo>
                  <a:lnTo>
                    <a:pt x="334467" y="246456"/>
                  </a:lnTo>
                  <a:lnTo>
                    <a:pt x="339509" y="253949"/>
                  </a:lnTo>
                  <a:lnTo>
                    <a:pt x="347002" y="258991"/>
                  </a:lnTo>
                  <a:lnTo>
                    <a:pt x="356171" y="260845"/>
                  </a:lnTo>
                  <a:lnTo>
                    <a:pt x="365340" y="258991"/>
                  </a:lnTo>
                  <a:lnTo>
                    <a:pt x="372821" y="253949"/>
                  </a:lnTo>
                  <a:lnTo>
                    <a:pt x="377863" y="246456"/>
                  </a:lnTo>
                  <a:lnTo>
                    <a:pt x="379717" y="237286"/>
                  </a:lnTo>
                  <a:close/>
                </a:path>
                <a:path w="474980" h="474980">
                  <a:moveTo>
                    <a:pt x="446747" y="344106"/>
                  </a:moveTo>
                  <a:lnTo>
                    <a:pt x="445909" y="332092"/>
                  </a:lnTo>
                  <a:lnTo>
                    <a:pt x="440639" y="321284"/>
                  </a:lnTo>
                  <a:lnTo>
                    <a:pt x="431292" y="313029"/>
                  </a:lnTo>
                  <a:lnTo>
                    <a:pt x="419468" y="309054"/>
                  </a:lnTo>
                  <a:lnTo>
                    <a:pt x="407454" y="309892"/>
                  </a:lnTo>
                  <a:lnTo>
                    <a:pt x="396621" y="315175"/>
                  </a:lnTo>
                  <a:lnTo>
                    <a:pt x="388378" y="324523"/>
                  </a:lnTo>
                  <a:lnTo>
                    <a:pt x="384403" y="336346"/>
                  </a:lnTo>
                  <a:lnTo>
                    <a:pt x="385241" y="348361"/>
                  </a:lnTo>
                  <a:lnTo>
                    <a:pt x="390525" y="359181"/>
                  </a:lnTo>
                  <a:lnTo>
                    <a:pt x="399872" y="367423"/>
                  </a:lnTo>
                  <a:lnTo>
                    <a:pt x="411695" y="371398"/>
                  </a:lnTo>
                  <a:lnTo>
                    <a:pt x="423710" y="370560"/>
                  </a:lnTo>
                  <a:lnTo>
                    <a:pt x="434530" y="365290"/>
                  </a:lnTo>
                  <a:lnTo>
                    <a:pt x="442772" y="355930"/>
                  </a:lnTo>
                  <a:lnTo>
                    <a:pt x="446747" y="344106"/>
                  </a:lnTo>
                  <a:close/>
                </a:path>
                <a:path w="474980" h="474980">
                  <a:moveTo>
                    <a:pt x="446747" y="130467"/>
                  </a:moveTo>
                  <a:lnTo>
                    <a:pt x="442772" y="118656"/>
                  </a:lnTo>
                  <a:lnTo>
                    <a:pt x="434530" y="109296"/>
                  </a:lnTo>
                  <a:lnTo>
                    <a:pt x="423710" y="104025"/>
                  </a:lnTo>
                  <a:lnTo>
                    <a:pt x="411695" y="103187"/>
                  </a:lnTo>
                  <a:lnTo>
                    <a:pt x="399872" y="107162"/>
                  </a:lnTo>
                  <a:lnTo>
                    <a:pt x="390525" y="115404"/>
                  </a:lnTo>
                  <a:lnTo>
                    <a:pt x="385241" y="126225"/>
                  </a:lnTo>
                  <a:lnTo>
                    <a:pt x="384403" y="138239"/>
                  </a:lnTo>
                  <a:lnTo>
                    <a:pt x="388378" y="150050"/>
                  </a:lnTo>
                  <a:lnTo>
                    <a:pt x="396633" y="159410"/>
                  </a:lnTo>
                  <a:lnTo>
                    <a:pt x="407454" y="164693"/>
                  </a:lnTo>
                  <a:lnTo>
                    <a:pt x="419455" y="165531"/>
                  </a:lnTo>
                  <a:lnTo>
                    <a:pt x="431279" y="161556"/>
                  </a:lnTo>
                  <a:lnTo>
                    <a:pt x="440639" y="153301"/>
                  </a:lnTo>
                  <a:lnTo>
                    <a:pt x="445909" y="142481"/>
                  </a:lnTo>
                  <a:lnTo>
                    <a:pt x="446747" y="130467"/>
                  </a:lnTo>
                  <a:close/>
                </a:path>
                <a:path w="474980" h="474980">
                  <a:moveTo>
                    <a:pt x="474573" y="237286"/>
                  </a:moveTo>
                  <a:lnTo>
                    <a:pt x="472109" y="225069"/>
                  </a:lnTo>
                  <a:lnTo>
                    <a:pt x="465366" y="215087"/>
                  </a:lnTo>
                  <a:lnTo>
                    <a:pt x="455383" y="208356"/>
                  </a:lnTo>
                  <a:lnTo>
                    <a:pt x="443153" y="205879"/>
                  </a:lnTo>
                  <a:lnTo>
                    <a:pt x="430936" y="208356"/>
                  </a:lnTo>
                  <a:lnTo>
                    <a:pt x="420941" y="215087"/>
                  </a:lnTo>
                  <a:lnTo>
                    <a:pt x="414210" y="225069"/>
                  </a:lnTo>
                  <a:lnTo>
                    <a:pt x="411746" y="237286"/>
                  </a:lnTo>
                  <a:lnTo>
                    <a:pt x="414210" y="249516"/>
                  </a:lnTo>
                  <a:lnTo>
                    <a:pt x="420941" y="259499"/>
                  </a:lnTo>
                  <a:lnTo>
                    <a:pt x="430936" y="266230"/>
                  </a:lnTo>
                  <a:lnTo>
                    <a:pt x="443153" y="268693"/>
                  </a:lnTo>
                  <a:lnTo>
                    <a:pt x="455383" y="266230"/>
                  </a:lnTo>
                  <a:lnTo>
                    <a:pt x="465366" y="259499"/>
                  </a:lnTo>
                  <a:lnTo>
                    <a:pt x="472109" y="249516"/>
                  </a:lnTo>
                  <a:lnTo>
                    <a:pt x="474573" y="237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448D2BD-D77D-EB95-A3BD-E8EACBE11735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  <a:solidFill>
            <a:schemeClr val="bg1"/>
          </a:solidFill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66B137A-A3B9-10EC-BDFC-F457D1BE89BC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DB0A5771-3B2C-E16E-54E8-2560C21CFB6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96220687-5C92-6FEA-A66B-D21487EA1EC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AF08858-14F0-2ED0-FE94-5D1148037BAD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CC41A12C-F34B-72EB-2013-599B949D191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7D93C8E5-0A09-9DE8-137C-E66BF4F4295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9" name="object 3">
            <a:extLst>
              <a:ext uri="{FF2B5EF4-FFF2-40B4-BE49-F238E27FC236}">
                <a16:creationId xmlns:a16="http://schemas.microsoft.com/office/drawing/2014/main" id="{AB9422F4-0321-8ECA-0D22-010A3CA0EA84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2382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D6047-A25C-7D70-1F8B-67AEFAF6A4E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59" y="2095500"/>
            <a:ext cx="5310187" cy="36639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>
              <a:defRPr sz="2200"/>
            </a:lvl6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1153525"/>
            <a:ext cx="10961841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B1190F6-4839-3BC4-3834-FC3C4246B20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448426" y="2095500"/>
            <a:ext cx="5310187" cy="36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sz="2200"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>
              <a:defRPr sz="22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18108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wo Column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D6047-A25C-7D70-1F8B-67AEFAF6A4E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59" y="2095500"/>
            <a:ext cx="5310187" cy="36639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 b="1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sz="2200"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>
              <a:defRPr sz="22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1153525"/>
            <a:ext cx="11315854" cy="465103"/>
          </a:xfrm>
        </p:spPr>
        <p:txBody>
          <a:bodyPr/>
          <a:lstStyle>
            <a:lvl1pPr>
              <a:defRPr sz="4000" spc="-110" baseline="0">
                <a:solidFill>
                  <a:schemeClr val="bg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 presentation title ]</a:t>
            </a:r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4A209C3-02C5-0F45-79F5-1519E3B0DB4F}"/>
              </a:ext>
            </a:extLst>
          </p:cNvPr>
          <p:cNvGrpSpPr/>
          <p:nvPr userDrawn="1"/>
        </p:nvGrpSpPr>
        <p:grpSpPr>
          <a:xfrm>
            <a:off x="143595" y="135785"/>
            <a:ext cx="1089185" cy="288028"/>
            <a:chOff x="143595" y="135785"/>
            <a:chExt cx="1089185" cy="288028"/>
          </a:xfrm>
          <a:solidFill>
            <a:schemeClr val="bg1"/>
          </a:solidFill>
        </p:grpSpPr>
        <p:sp>
          <p:nvSpPr>
            <p:cNvPr id="7" name="object 8">
              <a:extLst>
                <a:ext uri="{FF2B5EF4-FFF2-40B4-BE49-F238E27FC236}">
                  <a16:creationId xmlns:a16="http://schemas.microsoft.com/office/drawing/2014/main" id="{18B8E1A2-4A04-C22C-6742-7C61B80E01A4}"/>
                </a:ext>
              </a:extLst>
            </p:cNvPr>
            <p:cNvSpPr/>
            <p:nvPr userDrawn="1"/>
          </p:nvSpPr>
          <p:spPr>
            <a:xfrm>
              <a:off x="478824" y="191457"/>
              <a:ext cx="753956" cy="175204"/>
            </a:xfrm>
            <a:custGeom>
              <a:avLst/>
              <a:gdLst/>
              <a:ahLst/>
              <a:cxnLst/>
              <a:rect l="l" t="t" r="r" b="b"/>
              <a:pathLst>
                <a:path w="1243330" h="288925">
                  <a:moveTo>
                    <a:pt x="39223" y="4994"/>
                  </a:moveTo>
                  <a:lnTo>
                    <a:pt x="0" y="4994"/>
                  </a:lnTo>
                  <a:lnTo>
                    <a:pt x="0" y="170361"/>
                  </a:lnTo>
                  <a:lnTo>
                    <a:pt x="6495" y="225537"/>
                  </a:lnTo>
                  <a:lnTo>
                    <a:pt x="26582" y="262179"/>
                  </a:lnTo>
                  <a:lnTo>
                    <a:pt x="61163" y="282523"/>
                  </a:lnTo>
                  <a:lnTo>
                    <a:pt x="111137" y="288807"/>
                  </a:lnTo>
                  <a:lnTo>
                    <a:pt x="162919" y="281285"/>
                  </a:lnTo>
                  <a:lnTo>
                    <a:pt x="197719" y="258621"/>
                  </a:lnTo>
                  <a:lnTo>
                    <a:pt x="199605" y="254966"/>
                  </a:lnTo>
                  <a:lnTo>
                    <a:pt x="111137" y="254966"/>
                  </a:lnTo>
                  <a:lnTo>
                    <a:pt x="77840" y="250140"/>
                  </a:lnTo>
                  <a:lnTo>
                    <a:pt x="55571" y="235401"/>
                  </a:lnTo>
                  <a:lnTo>
                    <a:pt x="43106" y="210350"/>
                  </a:lnTo>
                  <a:lnTo>
                    <a:pt x="39223" y="174591"/>
                  </a:lnTo>
                  <a:lnTo>
                    <a:pt x="39223" y="4994"/>
                  </a:lnTo>
                  <a:close/>
                </a:path>
                <a:path w="1243330" h="288925">
                  <a:moveTo>
                    <a:pt x="223438" y="4994"/>
                  </a:moveTo>
                  <a:lnTo>
                    <a:pt x="184214" y="4994"/>
                  </a:lnTo>
                  <a:lnTo>
                    <a:pt x="184214" y="170361"/>
                  </a:lnTo>
                  <a:lnTo>
                    <a:pt x="180314" y="206781"/>
                  </a:lnTo>
                  <a:lnTo>
                    <a:pt x="167725" y="233286"/>
                  </a:lnTo>
                  <a:lnTo>
                    <a:pt x="145111" y="249479"/>
                  </a:lnTo>
                  <a:lnTo>
                    <a:pt x="111137" y="254966"/>
                  </a:lnTo>
                  <a:lnTo>
                    <a:pt x="199605" y="254966"/>
                  </a:lnTo>
                  <a:lnTo>
                    <a:pt x="217302" y="220669"/>
                  </a:lnTo>
                  <a:lnTo>
                    <a:pt x="223438" y="167282"/>
                  </a:lnTo>
                  <a:lnTo>
                    <a:pt x="223438" y="4994"/>
                  </a:lnTo>
                  <a:close/>
                </a:path>
                <a:path w="1243330" h="288925">
                  <a:moveTo>
                    <a:pt x="313037" y="4994"/>
                  </a:moveTo>
                  <a:lnTo>
                    <a:pt x="273813" y="4994"/>
                  </a:lnTo>
                  <a:lnTo>
                    <a:pt x="273813" y="283802"/>
                  </a:lnTo>
                  <a:lnTo>
                    <a:pt x="313037" y="283802"/>
                  </a:lnTo>
                  <a:lnTo>
                    <a:pt x="313037" y="196130"/>
                  </a:lnTo>
                  <a:lnTo>
                    <a:pt x="356879" y="147670"/>
                  </a:lnTo>
                  <a:lnTo>
                    <a:pt x="403714" y="147670"/>
                  </a:lnTo>
                  <a:lnTo>
                    <a:pt x="402092" y="145367"/>
                  </a:lnTo>
                  <a:lnTo>
                    <a:pt x="313037" y="145367"/>
                  </a:lnTo>
                  <a:lnTo>
                    <a:pt x="313037" y="4994"/>
                  </a:lnTo>
                  <a:close/>
                </a:path>
                <a:path w="1243330" h="288925">
                  <a:moveTo>
                    <a:pt x="403714" y="147670"/>
                  </a:moveTo>
                  <a:lnTo>
                    <a:pt x="356879" y="147670"/>
                  </a:lnTo>
                  <a:lnTo>
                    <a:pt x="452635" y="283802"/>
                  </a:lnTo>
                  <a:lnTo>
                    <a:pt x="499555" y="283802"/>
                  </a:lnTo>
                  <a:lnTo>
                    <a:pt x="403714" y="147670"/>
                  </a:lnTo>
                  <a:close/>
                </a:path>
                <a:path w="1243330" h="288925">
                  <a:moveTo>
                    <a:pt x="487639" y="4994"/>
                  </a:moveTo>
                  <a:lnTo>
                    <a:pt x="438792" y="4994"/>
                  </a:lnTo>
                  <a:lnTo>
                    <a:pt x="313037" y="145367"/>
                  </a:lnTo>
                  <a:lnTo>
                    <a:pt x="402092" y="145367"/>
                  </a:lnTo>
                  <a:lnTo>
                    <a:pt x="383412" y="118834"/>
                  </a:lnTo>
                  <a:lnTo>
                    <a:pt x="487639" y="4994"/>
                  </a:lnTo>
                  <a:close/>
                </a:path>
                <a:path w="1243330" h="288925">
                  <a:moveTo>
                    <a:pt x="630692" y="0"/>
                  </a:moveTo>
                  <a:lnTo>
                    <a:pt x="587086" y="6688"/>
                  </a:lnTo>
                  <a:lnTo>
                    <a:pt x="551180" y="25818"/>
                  </a:lnTo>
                  <a:lnTo>
                    <a:pt x="524117" y="55986"/>
                  </a:lnTo>
                  <a:lnTo>
                    <a:pt x="507040" y="95790"/>
                  </a:lnTo>
                  <a:lnTo>
                    <a:pt x="501094" y="143828"/>
                  </a:lnTo>
                  <a:lnTo>
                    <a:pt x="506546" y="191167"/>
                  </a:lnTo>
                  <a:lnTo>
                    <a:pt x="506572" y="191394"/>
                  </a:lnTo>
                  <a:lnTo>
                    <a:pt x="522590" y="231410"/>
                  </a:lnTo>
                  <a:lnTo>
                    <a:pt x="548520" y="262141"/>
                  </a:lnTo>
                  <a:lnTo>
                    <a:pt x="583737" y="281852"/>
                  </a:lnTo>
                  <a:lnTo>
                    <a:pt x="627614" y="288807"/>
                  </a:lnTo>
                  <a:lnTo>
                    <a:pt x="670222" y="282799"/>
                  </a:lnTo>
                  <a:lnTo>
                    <a:pt x="706016" y="264965"/>
                  </a:lnTo>
                  <a:lnTo>
                    <a:pt x="714428" y="255740"/>
                  </a:lnTo>
                  <a:lnTo>
                    <a:pt x="629917" y="255740"/>
                  </a:lnTo>
                  <a:lnTo>
                    <a:pt x="594136" y="248205"/>
                  </a:lnTo>
                  <a:lnTo>
                    <a:pt x="566032" y="226320"/>
                  </a:lnTo>
                  <a:lnTo>
                    <a:pt x="547781" y="191394"/>
                  </a:lnTo>
                  <a:lnTo>
                    <a:pt x="547662" y="191167"/>
                  </a:lnTo>
                  <a:lnTo>
                    <a:pt x="541083" y="143828"/>
                  </a:lnTo>
                  <a:lnTo>
                    <a:pt x="547861" y="96019"/>
                  </a:lnTo>
                  <a:lnTo>
                    <a:pt x="566465" y="61334"/>
                  </a:lnTo>
                  <a:lnTo>
                    <a:pt x="594299" y="40206"/>
                  </a:lnTo>
                  <a:lnTo>
                    <a:pt x="628766" y="33067"/>
                  </a:lnTo>
                  <a:lnTo>
                    <a:pt x="713229" y="33067"/>
                  </a:lnTo>
                  <a:lnTo>
                    <a:pt x="705776" y="24564"/>
                  </a:lnTo>
                  <a:lnTo>
                    <a:pt x="671443" y="6279"/>
                  </a:lnTo>
                  <a:lnTo>
                    <a:pt x="630692" y="0"/>
                  </a:lnTo>
                  <a:close/>
                </a:path>
                <a:path w="1243330" h="288925">
                  <a:moveTo>
                    <a:pt x="748364" y="194978"/>
                  </a:moveTo>
                  <a:lnTo>
                    <a:pt x="710292" y="194978"/>
                  </a:lnTo>
                  <a:lnTo>
                    <a:pt x="700279" y="219557"/>
                  </a:lnTo>
                  <a:lnTo>
                    <a:pt x="683522" y="238768"/>
                  </a:lnTo>
                  <a:lnTo>
                    <a:pt x="660056" y="251275"/>
                  </a:lnTo>
                  <a:lnTo>
                    <a:pt x="629917" y="255740"/>
                  </a:lnTo>
                  <a:lnTo>
                    <a:pt x="714428" y="255740"/>
                  </a:lnTo>
                  <a:lnTo>
                    <a:pt x="732797" y="235595"/>
                  </a:lnTo>
                  <a:lnTo>
                    <a:pt x="748364" y="194978"/>
                  </a:lnTo>
                  <a:close/>
                </a:path>
                <a:path w="1243330" h="288925">
                  <a:moveTo>
                    <a:pt x="713229" y="33067"/>
                  </a:moveTo>
                  <a:lnTo>
                    <a:pt x="628766" y="33067"/>
                  </a:lnTo>
                  <a:lnTo>
                    <a:pt x="658788" y="37640"/>
                  </a:lnTo>
                  <a:lnTo>
                    <a:pt x="682318" y="50325"/>
                  </a:lnTo>
                  <a:lnTo>
                    <a:pt x="699069" y="69572"/>
                  </a:lnTo>
                  <a:lnTo>
                    <a:pt x="708753" y="93829"/>
                  </a:lnTo>
                  <a:lnTo>
                    <a:pt x="746825" y="93829"/>
                  </a:lnTo>
                  <a:lnTo>
                    <a:pt x="731601" y="54024"/>
                  </a:lnTo>
                  <a:lnTo>
                    <a:pt x="713229" y="33067"/>
                  </a:lnTo>
                  <a:close/>
                </a:path>
                <a:path w="1243330" h="288925">
                  <a:moveTo>
                    <a:pt x="975268" y="4994"/>
                  </a:moveTo>
                  <a:lnTo>
                    <a:pt x="786059" y="4994"/>
                  </a:lnTo>
                  <a:lnTo>
                    <a:pt x="786059" y="283802"/>
                  </a:lnTo>
                  <a:lnTo>
                    <a:pt x="975268" y="283802"/>
                  </a:lnTo>
                  <a:lnTo>
                    <a:pt x="975268" y="249971"/>
                  </a:lnTo>
                  <a:lnTo>
                    <a:pt x="825283" y="249971"/>
                  </a:lnTo>
                  <a:lnTo>
                    <a:pt x="825283" y="157283"/>
                  </a:lnTo>
                  <a:lnTo>
                    <a:pt x="966420" y="157283"/>
                  </a:lnTo>
                  <a:lnTo>
                    <a:pt x="966420" y="123441"/>
                  </a:lnTo>
                  <a:lnTo>
                    <a:pt x="825283" y="123441"/>
                  </a:lnTo>
                  <a:lnTo>
                    <a:pt x="825283" y="38836"/>
                  </a:lnTo>
                  <a:lnTo>
                    <a:pt x="975268" y="38836"/>
                  </a:lnTo>
                  <a:lnTo>
                    <a:pt x="975268" y="4994"/>
                  </a:lnTo>
                  <a:close/>
                </a:path>
                <a:path w="1243330" h="288925">
                  <a:moveTo>
                    <a:pt x="1057171" y="4994"/>
                  </a:moveTo>
                  <a:lnTo>
                    <a:pt x="1017948" y="4994"/>
                  </a:lnTo>
                  <a:lnTo>
                    <a:pt x="1017948" y="283802"/>
                  </a:lnTo>
                  <a:lnTo>
                    <a:pt x="1057171" y="283802"/>
                  </a:lnTo>
                  <a:lnTo>
                    <a:pt x="1057171" y="157283"/>
                  </a:lnTo>
                  <a:lnTo>
                    <a:pt x="1242925" y="157283"/>
                  </a:lnTo>
                  <a:lnTo>
                    <a:pt x="1242925" y="123441"/>
                  </a:lnTo>
                  <a:lnTo>
                    <a:pt x="1057171" y="123441"/>
                  </a:lnTo>
                  <a:lnTo>
                    <a:pt x="1057171" y="4994"/>
                  </a:lnTo>
                  <a:close/>
                </a:path>
                <a:path w="1243330" h="288925">
                  <a:moveTo>
                    <a:pt x="1242925" y="157283"/>
                  </a:moveTo>
                  <a:lnTo>
                    <a:pt x="1203701" y="157283"/>
                  </a:lnTo>
                  <a:lnTo>
                    <a:pt x="1203701" y="283802"/>
                  </a:lnTo>
                  <a:lnTo>
                    <a:pt x="1242925" y="283802"/>
                  </a:lnTo>
                  <a:lnTo>
                    <a:pt x="1242925" y="157283"/>
                  </a:lnTo>
                  <a:close/>
                </a:path>
                <a:path w="1243330" h="288925">
                  <a:moveTo>
                    <a:pt x="1242925" y="4994"/>
                  </a:moveTo>
                  <a:lnTo>
                    <a:pt x="1203701" y="4994"/>
                  </a:lnTo>
                  <a:lnTo>
                    <a:pt x="1203701" y="123441"/>
                  </a:lnTo>
                  <a:lnTo>
                    <a:pt x="1242925" y="123441"/>
                  </a:lnTo>
                  <a:lnTo>
                    <a:pt x="1242925" y="4994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" name="object 9">
              <a:extLst>
                <a:ext uri="{FF2B5EF4-FFF2-40B4-BE49-F238E27FC236}">
                  <a16:creationId xmlns:a16="http://schemas.microsoft.com/office/drawing/2014/main" id="{F1228E5F-1B31-850A-2E3A-8B0584ED3398}"/>
                </a:ext>
              </a:extLst>
            </p:cNvPr>
            <p:cNvSpPr/>
            <p:nvPr userDrawn="1"/>
          </p:nvSpPr>
          <p:spPr>
            <a:xfrm>
              <a:off x="143595" y="135785"/>
              <a:ext cx="288028" cy="288028"/>
            </a:xfrm>
            <a:custGeom>
              <a:avLst/>
              <a:gdLst/>
              <a:ahLst/>
              <a:cxnLst/>
              <a:rect l="l" t="t" r="r" b="b"/>
              <a:pathLst>
                <a:path w="474980" h="474980">
                  <a:moveTo>
                    <a:pt x="62826" y="237299"/>
                  </a:moveTo>
                  <a:lnTo>
                    <a:pt x="60350" y="225069"/>
                  </a:lnTo>
                  <a:lnTo>
                    <a:pt x="53619" y="215087"/>
                  </a:lnTo>
                  <a:lnTo>
                    <a:pt x="43637" y="208356"/>
                  </a:lnTo>
                  <a:lnTo>
                    <a:pt x="31407" y="205879"/>
                  </a:lnTo>
                  <a:lnTo>
                    <a:pt x="19177" y="208356"/>
                  </a:lnTo>
                  <a:lnTo>
                    <a:pt x="9194" y="215087"/>
                  </a:lnTo>
                  <a:lnTo>
                    <a:pt x="2463" y="225069"/>
                  </a:lnTo>
                  <a:lnTo>
                    <a:pt x="0" y="237299"/>
                  </a:lnTo>
                  <a:lnTo>
                    <a:pt x="2463" y="249516"/>
                  </a:lnTo>
                  <a:lnTo>
                    <a:pt x="9194" y="259499"/>
                  </a:lnTo>
                  <a:lnTo>
                    <a:pt x="19177" y="266230"/>
                  </a:lnTo>
                  <a:lnTo>
                    <a:pt x="31407" y="268693"/>
                  </a:lnTo>
                  <a:lnTo>
                    <a:pt x="43637" y="266230"/>
                  </a:lnTo>
                  <a:lnTo>
                    <a:pt x="53619" y="259499"/>
                  </a:lnTo>
                  <a:lnTo>
                    <a:pt x="60350" y="249516"/>
                  </a:lnTo>
                  <a:lnTo>
                    <a:pt x="62826" y="237299"/>
                  </a:lnTo>
                  <a:close/>
                </a:path>
                <a:path w="474980" h="474980">
                  <a:moveTo>
                    <a:pt x="90170" y="336346"/>
                  </a:moveTo>
                  <a:lnTo>
                    <a:pt x="86194" y="324523"/>
                  </a:lnTo>
                  <a:lnTo>
                    <a:pt x="77939" y="315175"/>
                  </a:lnTo>
                  <a:lnTo>
                    <a:pt x="67119" y="309892"/>
                  </a:lnTo>
                  <a:lnTo>
                    <a:pt x="55118" y="309054"/>
                  </a:lnTo>
                  <a:lnTo>
                    <a:pt x="43294" y="313029"/>
                  </a:lnTo>
                  <a:lnTo>
                    <a:pt x="33934" y="321284"/>
                  </a:lnTo>
                  <a:lnTo>
                    <a:pt x="28651" y="332105"/>
                  </a:lnTo>
                  <a:lnTo>
                    <a:pt x="27813" y="344106"/>
                  </a:lnTo>
                  <a:lnTo>
                    <a:pt x="31788" y="355930"/>
                  </a:lnTo>
                  <a:lnTo>
                    <a:pt x="40043" y="365290"/>
                  </a:lnTo>
                  <a:lnTo>
                    <a:pt x="50863" y="370560"/>
                  </a:lnTo>
                  <a:lnTo>
                    <a:pt x="62877" y="371398"/>
                  </a:lnTo>
                  <a:lnTo>
                    <a:pt x="74701" y="367423"/>
                  </a:lnTo>
                  <a:lnTo>
                    <a:pt x="84048" y="359181"/>
                  </a:lnTo>
                  <a:lnTo>
                    <a:pt x="89331" y="348361"/>
                  </a:lnTo>
                  <a:lnTo>
                    <a:pt x="90170" y="336346"/>
                  </a:lnTo>
                  <a:close/>
                </a:path>
                <a:path w="474980" h="474980">
                  <a:moveTo>
                    <a:pt x="90170" y="138239"/>
                  </a:moveTo>
                  <a:lnTo>
                    <a:pt x="89331" y="126225"/>
                  </a:lnTo>
                  <a:lnTo>
                    <a:pt x="84048" y="115404"/>
                  </a:lnTo>
                  <a:lnTo>
                    <a:pt x="74701" y="107149"/>
                  </a:lnTo>
                  <a:lnTo>
                    <a:pt x="62877" y="103174"/>
                  </a:lnTo>
                  <a:lnTo>
                    <a:pt x="50863" y="104013"/>
                  </a:lnTo>
                  <a:lnTo>
                    <a:pt x="40043" y="109296"/>
                  </a:lnTo>
                  <a:lnTo>
                    <a:pt x="31800" y="118656"/>
                  </a:lnTo>
                  <a:lnTo>
                    <a:pt x="27813" y="130479"/>
                  </a:lnTo>
                  <a:lnTo>
                    <a:pt x="28651" y="142481"/>
                  </a:lnTo>
                  <a:lnTo>
                    <a:pt x="33934" y="153301"/>
                  </a:lnTo>
                  <a:lnTo>
                    <a:pt x="43281" y="161556"/>
                  </a:lnTo>
                  <a:lnTo>
                    <a:pt x="55105" y="165519"/>
                  </a:lnTo>
                  <a:lnTo>
                    <a:pt x="67119" y="164693"/>
                  </a:lnTo>
                  <a:lnTo>
                    <a:pt x="77939" y="159410"/>
                  </a:lnTo>
                  <a:lnTo>
                    <a:pt x="86194" y="150050"/>
                  </a:lnTo>
                  <a:lnTo>
                    <a:pt x="90170" y="138239"/>
                  </a:lnTo>
                  <a:close/>
                </a:path>
                <a:path w="474980" h="474980">
                  <a:moveTo>
                    <a:pt x="141947" y="237286"/>
                  </a:moveTo>
                  <a:lnTo>
                    <a:pt x="140106" y="228117"/>
                  </a:lnTo>
                  <a:lnTo>
                    <a:pt x="135051" y="220637"/>
                  </a:lnTo>
                  <a:lnTo>
                    <a:pt x="127571" y="215582"/>
                  </a:lnTo>
                  <a:lnTo>
                    <a:pt x="118402" y="213741"/>
                  </a:lnTo>
                  <a:lnTo>
                    <a:pt x="109232" y="215582"/>
                  </a:lnTo>
                  <a:lnTo>
                    <a:pt x="101752" y="220637"/>
                  </a:lnTo>
                  <a:lnTo>
                    <a:pt x="96697" y="228117"/>
                  </a:lnTo>
                  <a:lnTo>
                    <a:pt x="94856" y="237286"/>
                  </a:lnTo>
                  <a:lnTo>
                    <a:pt x="96697" y="246456"/>
                  </a:lnTo>
                  <a:lnTo>
                    <a:pt x="101752" y="253949"/>
                  </a:lnTo>
                  <a:lnTo>
                    <a:pt x="109232" y="258991"/>
                  </a:lnTo>
                  <a:lnTo>
                    <a:pt x="118402" y="260845"/>
                  </a:lnTo>
                  <a:lnTo>
                    <a:pt x="127571" y="258991"/>
                  </a:lnTo>
                  <a:lnTo>
                    <a:pt x="135051" y="253949"/>
                  </a:lnTo>
                  <a:lnTo>
                    <a:pt x="140106" y="246456"/>
                  </a:lnTo>
                  <a:lnTo>
                    <a:pt x="141947" y="237286"/>
                  </a:lnTo>
                  <a:close/>
                </a:path>
                <a:path w="474980" h="474980">
                  <a:moveTo>
                    <a:pt x="165519" y="419468"/>
                  </a:moveTo>
                  <a:lnTo>
                    <a:pt x="164680" y="407454"/>
                  </a:lnTo>
                  <a:lnTo>
                    <a:pt x="159397" y="396633"/>
                  </a:lnTo>
                  <a:lnTo>
                    <a:pt x="150050" y="388378"/>
                  </a:lnTo>
                  <a:lnTo>
                    <a:pt x="138226" y="384403"/>
                  </a:lnTo>
                  <a:lnTo>
                    <a:pt x="126212" y="385241"/>
                  </a:lnTo>
                  <a:lnTo>
                    <a:pt x="115392" y="390525"/>
                  </a:lnTo>
                  <a:lnTo>
                    <a:pt x="107149" y="399884"/>
                  </a:lnTo>
                  <a:lnTo>
                    <a:pt x="103174" y="411708"/>
                  </a:lnTo>
                  <a:lnTo>
                    <a:pt x="104013" y="423710"/>
                  </a:lnTo>
                  <a:lnTo>
                    <a:pt x="109296" y="434530"/>
                  </a:lnTo>
                  <a:lnTo>
                    <a:pt x="118643" y="442785"/>
                  </a:lnTo>
                  <a:lnTo>
                    <a:pt x="130467" y="446760"/>
                  </a:lnTo>
                  <a:lnTo>
                    <a:pt x="142481" y="445922"/>
                  </a:lnTo>
                  <a:lnTo>
                    <a:pt x="153301" y="440639"/>
                  </a:lnTo>
                  <a:lnTo>
                    <a:pt x="161544" y="431292"/>
                  </a:lnTo>
                  <a:lnTo>
                    <a:pt x="165519" y="419468"/>
                  </a:lnTo>
                  <a:close/>
                </a:path>
                <a:path w="474980" h="474980">
                  <a:moveTo>
                    <a:pt x="165519" y="55118"/>
                  </a:moveTo>
                  <a:lnTo>
                    <a:pt x="161544" y="43294"/>
                  </a:lnTo>
                  <a:lnTo>
                    <a:pt x="153301" y="33947"/>
                  </a:lnTo>
                  <a:lnTo>
                    <a:pt x="142481" y="28663"/>
                  </a:lnTo>
                  <a:lnTo>
                    <a:pt x="130467" y="27825"/>
                  </a:lnTo>
                  <a:lnTo>
                    <a:pt x="118643" y="31800"/>
                  </a:lnTo>
                  <a:lnTo>
                    <a:pt x="109296" y="40043"/>
                  </a:lnTo>
                  <a:lnTo>
                    <a:pt x="104013" y="50876"/>
                  </a:lnTo>
                  <a:lnTo>
                    <a:pt x="103174" y="62890"/>
                  </a:lnTo>
                  <a:lnTo>
                    <a:pt x="107149" y="74714"/>
                  </a:lnTo>
                  <a:lnTo>
                    <a:pt x="115404" y="84061"/>
                  </a:lnTo>
                  <a:lnTo>
                    <a:pt x="126212" y="89331"/>
                  </a:lnTo>
                  <a:lnTo>
                    <a:pt x="138226" y="90170"/>
                  </a:lnTo>
                  <a:lnTo>
                    <a:pt x="150050" y="86194"/>
                  </a:lnTo>
                  <a:lnTo>
                    <a:pt x="159410" y="77952"/>
                  </a:lnTo>
                  <a:lnTo>
                    <a:pt x="164680" y="67132"/>
                  </a:lnTo>
                  <a:lnTo>
                    <a:pt x="165519" y="55118"/>
                  </a:lnTo>
                  <a:close/>
                </a:path>
                <a:path w="474980" h="474980">
                  <a:moveTo>
                    <a:pt x="176771" y="321348"/>
                  </a:moveTo>
                  <a:lnTo>
                    <a:pt x="175056" y="312483"/>
                  </a:lnTo>
                  <a:lnTo>
                    <a:pt x="169875" y="304698"/>
                  </a:lnTo>
                  <a:lnTo>
                    <a:pt x="162077" y="299529"/>
                  </a:lnTo>
                  <a:lnTo>
                    <a:pt x="153225" y="297802"/>
                  </a:lnTo>
                  <a:lnTo>
                    <a:pt x="144360" y="299529"/>
                  </a:lnTo>
                  <a:lnTo>
                    <a:pt x="136563" y="304698"/>
                  </a:lnTo>
                  <a:lnTo>
                    <a:pt x="131394" y="312483"/>
                  </a:lnTo>
                  <a:lnTo>
                    <a:pt x="129667" y="321348"/>
                  </a:lnTo>
                  <a:lnTo>
                    <a:pt x="131394" y="330212"/>
                  </a:lnTo>
                  <a:lnTo>
                    <a:pt x="136563" y="338010"/>
                  </a:lnTo>
                  <a:lnTo>
                    <a:pt x="144360" y="343179"/>
                  </a:lnTo>
                  <a:lnTo>
                    <a:pt x="153225" y="344906"/>
                  </a:lnTo>
                  <a:lnTo>
                    <a:pt x="162077" y="343179"/>
                  </a:lnTo>
                  <a:lnTo>
                    <a:pt x="169875" y="338010"/>
                  </a:lnTo>
                  <a:lnTo>
                    <a:pt x="175056" y="330212"/>
                  </a:lnTo>
                  <a:lnTo>
                    <a:pt x="176771" y="321348"/>
                  </a:lnTo>
                  <a:close/>
                </a:path>
                <a:path w="474980" h="474980">
                  <a:moveTo>
                    <a:pt x="176784" y="153225"/>
                  </a:moveTo>
                  <a:lnTo>
                    <a:pt x="175056" y="144360"/>
                  </a:lnTo>
                  <a:lnTo>
                    <a:pt x="169875" y="136575"/>
                  </a:lnTo>
                  <a:lnTo>
                    <a:pt x="162090" y="131394"/>
                  </a:lnTo>
                  <a:lnTo>
                    <a:pt x="153225" y="129679"/>
                  </a:lnTo>
                  <a:lnTo>
                    <a:pt x="144360" y="131394"/>
                  </a:lnTo>
                  <a:lnTo>
                    <a:pt x="136575" y="136575"/>
                  </a:lnTo>
                  <a:lnTo>
                    <a:pt x="131394" y="144360"/>
                  </a:lnTo>
                  <a:lnTo>
                    <a:pt x="129667" y="153225"/>
                  </a:lnTo>
                  <a:lnTo>
                    <a:pt x="131394" y="162090"/>
                  </a:lnTo>
                  <a:lnTo>
                    <a:pt x="136575" y="169875"/>
                  </a:lnTo>
                  <a:lnTo>
                    <a:pt x="144360" y="175056"/>
                  </a:lnTo>
                  <a:lnTo>
                    <a:pt x="153225" y="176784"/>
                  </a:lnTo>
                  <a:lnTo>
                    <a:pt x="162090" y="175056"/>
                  </a:lnTo>
                  <a:lnTo>
                    <a:pt x="169875" y="169875"/>
                  </a:lnTo>
                  <a:lnTo>
                    <a:pt x="175056" y="162090"/>
                  </a:lnTo>
                  <a:lnTo>
                    <a:pt x="176784" y="153225"/>
                  </a:lnTo>
                  <a:close/>
                </a:path>
                <a:path w="474980" h="474980">
                  <a:moveTo>
                    <a:pt x="209016" y="261874"/>
                  </a:moveTo>
                  <a:lnTo>
                    <a:pt x="201853" y="249478"/>
                  </a:lnTo>
                  <a:lnTo>
                    <a:pt x="193941" y="247357"/>
                  </a:lnTo>
                  <a:lnTo>
                    <a:pt x="187744" y="250939"/>
                  </a:lnTo>
                  <a:lnTo>
                    <a:pt x="181546" y="254520"/>
                  </a:lnTo>
                  <a:lnTo>
                    <a:pt x="179412" y="262432"/>
                  </a:lnTo>
                  <a:lnTo>
                    <a:pt x="186575" y="274828"/>
                  </a:lnTo>
                  <a:lnTo>
                    <a:pt x="194500" y="276961"/>
                  </a:lnTo>
                  <a:lnTo>
                    <a:pt x="206895" y="269798"/>
                  </a:lnTo>
                  <a:lnTo>
                    <a:pt x="209016" y="261874"/>
                  </a:lnTo>
                  <a:close/>
                </a:path>
                <a:path w="474980" h="474980">
                  <a:moveTo>
                    <a:pt x="209016" y="212699"/>
                  </a:moveTo>
                  <a:lnTo>
                    <a:pt x="206895" y="204787"/>
                  </a:lnTo>
                  <a:lnTo>
                    <a:pt x="200698" y="201206"/>
                  </a:lnTo>
                  <a:lnTo>
                    <a:pt x="194500" y="197624"/>
                  </a:lnTo>
                  <a:lnTo>
                    <a:pt x="186575" y="199745"/>
                  </a:lnTo>
                  <a:lnTo>
                    <a:pt x="179425" y="212153"/>
                  </a:lnTo>
                  <a:lnTo>
                    <a:pt x="181546" y="220078"/>
                  </a:lnTo>
                  <a:lnTo>
                    <a:pt x="193941" y="227228"/>
                  </a:lnTo>
                  <a:lnTo>
                    <a:pt x="201853" y="225107"/>
                  </a:lnTo>
                  <a:lnTo>
                    <a:pt x="209016" y="212699"/>
                  </a:lnTo>
                  <a:close/>
                </a:path>
                <a:path w="474980" h="474980">
                  <a:moveTo>
                    <a:pt x="250240" y="279869"/>
                  </a:moveTo>
                  <a:lnTo>
                    <a:pt x="244449" y="274066"/>
                  </a:lnTo>
                  <a:lnTo>
                    <a:pt x="230136" y="274066"/>
                  </a:lnTo>
                  <a:lnTo>
                    <a:pt x="224332" y="279869"/>
                  </a:lnTo>
                  <a:lnTo>
                    <a:pt x="224332" y="287020"/>
                  </a:lnTo>
                  <a:lnTo>
                    <a:pt x="224332" y="294170"/>
                  </a:lnTo>
                  <a:lnTo>
                    <a:pt x="230136" y="299974"/>
                  </a:lnTo>
                  <a:lnTo>
                    <a:pt x="244449" y="299974"/>
                  </a:lnTo>
                  <a:lnTo>
                    <a:pt x="250240" y="294170"/>
                  </a:lnTo>
                  <a:lnTo>
                    <a:pt x="250240" y="279869"/>
                  </a:lnTo>
                  <a:close/>
                </a:path>
                <a:path w="474980" h="474980">
                  <a:moveTo>
                    <a:pt x="250240" y="180416"/>
                  </a:moveTo>
                  <a:lnTo>
                    <a:pt x="244436" y="174612"/>
                  </a:lnTo>
                  <a:lnTo>
                    <a:pt x="230124" y="174612"/>
                  </a:lnTo>
                  <a:lnTo>
                    <a:pt x="224332" y="180416"/>
                  </a:lnTo>
                  <a:lnTo>
                    <a:pt x="224332" y="194716"/>
                  </a:lnTo>
                  <a:lnTo>
                    <a:pt x="230124" y="200520"/>
                  </a:lnTo>
                  <a:lnTo>
                    <a:pt x="244436" y="200520"/>
                  </a:lnTo>
                  <a:lnTo>
                    <a:pt x="250240" y="194716"/>
                  </a:lnTo>
                  <a:lnTo>
                    <a:pt x="250240" y="187566"/>
                  </a:lnTo>
                  <a:lnTo>
                    <a:pt x="250240" y="180416"/>
                  </a:lnTo>
                  <a:close/>
                </a:path>
                <a:path w="474980" h="474980">
                  <a:moveTo>
                    <a:pt x="260832" y="356171"/>
                  </a:moveTo>
                  <a:lnTo>
                    <a:pt x="258991" y="347002"/>
                  </a:lnTo>
                  <a:lnTo>
                    <a:pt x="253936" y="339521"/>
                  </a:lnTo>
                  <a:lnTo>
                    <a:pt x="246456" y="334479"/>
                  </a:lnTo>
                  <a:lnTo>
                    <a:pt x="237274" y="332625"/>
                  </a:lnTo>
                  <a:lnTo>
                    <a:pt x="228117" y="334479"/>
                  </a:lnTo>
                  <a:lnTo>
                    <a:pt x="220624" y="339521"/>
                  </a:lnTo>
                  <a:lnTo>
                    <a:pt x="215582" y="347002"/>
                  </a:lnTo>
                  <a:lnTo>
                    <a:pt x="213728" y="356171"/>
                  </a:lnTo>
                  <a:lnTo>
                    <a:pt x="215582" y="365340"/>
                  </a:lnTo>
                  <a:lnTo>
                    <a:pt x="220624" y="372833"/>
                  </a:lnTo>
                  <a:lnTo>
                    <a:pt x="228117" y="377875"/>
                  </a:lnTo>
                  <a:lnTo>
                    <a:pt x="237274" y="379717"/>
                  </a:lnTo>
                  <a:lnTo>
                    <a:pt x="246456" y="377875"/>
                  </a:lnTo>
                  <a:lnTo>
                    <a:pt x="253936" y="372833"/>
                  </a:lnTo>
                  <a:lnTo>
                    <a:pt x="258991" y="365340"/>
                  </a:lnTo>
                  <a:lnTo>
                    <a:pt x="260832" y="356171"/>
                  </a:lnTo>
                  <a:close/>
                </a:path>
                <a:path w="474980" h="474980">
                  <a:moveTo>
                    <a:pt x="260845" y="118402"/>
                  </a:moveTo>
                  <a:lnTo>
                    <a:pt x="258991" y="109245"/>
                  </a:lnTo>
                  <a:lnTo>
                    <a:pt x="253936" y="101752"/>
                  </a:lnTo>
                  <a:lnTo>
                    <a:pt x="246456" y="96710"/>
                  </a:lnTo>
                  <a:lnTo>
                    <a:pt x="237286" y="94856"/>
                  </a:lnTo>
                  <a:lnTo>
                    <a:pt x="228117" y="96710"/>
                  </a:lnTo>
                  <a:lnTo>
                    <a:pt x="220637" y="101752"/>
                  </a:lnTo>
                  <a:lnTo>
                    <a:pt x="215582" y="109245"/>
                  </a:lnTo>
                  <a:lnTo>
                    <a:pt x="213728" y="118402"/>
                  </a:lnTo>
                  <a:lnTo>
                    <a:pt x="215582" y="127584"/>
                  </a:lnTo>
                  <a:lnTo>
                    <a:pt x="220637" y="135064"/>
                  </a:lnTo>
                  <a:lnTo>
                    <a:pt x="228117" y="140119"/>
                  </a:lnTo>
                  <a:lnTo>
                    <a:pt x="237286" y="141960"/>
                  </a:lnTo>
                  <a:lnTo>
                    <a:pt x="246456" y="140119"/>
                  </a:lnTo>
                  <a:lnTo>
                    <a:pt x="253936" y="135064"/>
                  </a:lnTo>
                  <a:lnTo>
                    <a:pt x="258991" y="127584"/>
                  </a:lnTo>
                  <a:lnTo>
                    <a:pt x="260845" y="118402"/>
                  </a:lnTo>
                  <a:close/>
                </a:path>
                <a:path w="474980" h="474980">
                  <a:moveTo>
                    <a:pt x="268693" y="443166"/>
                  </a:moveTo>
                  <a:lnTo>
                    <a:pt x="266230" y="430936"/>
                  </a:lnTo>
                  <a:lnTo>
                    <a:pt x="259499" y="420954"/>
                  </a:lnTo>
                  <a:lnTo>
                    <a:pt x="249516" y="414223"/>
                  </a:lnTo>
                  <a:lnTo>
                    <a:pt x="237286" y="411746"/>
                  </a:lnTo>
                  <a:lnTo>
                    <a:pt x="225069" y="414223"/>
                  </a:lnTo>
                  <a:lnTo>
                    <a:pt x="215074" y="420954"/>
                  </a:lnTo>
                  <a:lnTo>
                    <a:pt x="208343" y="430936"/>
                  </a:lnTo>
                  <a:lnTo>
                    <a:pt x="205879" y="443166"/>
                  </a:lnTo>
                  <a:lnTo>
                    <a:pt x="208343" y="455396"/>
                  </a:lnTo>
                  <a:lnTo>
                    <a:pt x="215074" y="465378"/>
                  </a:lnTo>
                  <a:lnTo>
                    <a:pt x="225069" y="472109"/>
                  </a:lnTo>
                  <a:lnTo>
                    <a:pt x="237286" y="474573"/>
                  </a:lnTo>
                  <a:lnTo>
                    <a:pt x="249516" y="472109"/>
                  </a:lnTo>
                  <a:lnTo>
                    <a:pt x="259499" y="465378"/>
                  </a:lnTo>
                  <a:lnTo>
                    <a:pt x="266230" y="455396"/>
                  </a:lnTo>
                  <a:lnTo>
                    <a:pt x="268693" y="443166"/>
                  </a:lnTo>
                  <a:close/>
                </a:path>
                <a:path w="474980" h="474980">
                  <a:moveTo>
                    <a:pt x="268693" y="31419"/>
                  </a:moveTo>
                  <a:lnTo>
                    <a:pt x="266230" y="19189"/>
                  </a:lnTo>
                  <a:lnTo>
                    <a:pt x="259486" y="9207"/>
                  </a:lnTo>
                  <a:lnTo>
                    <a:pt x="249504" y="2476"/>
                  </a:lnTo>
                  <a:lnTo>
                    <a:pt x="237274" y="0"/>
                  </a:lnTo>
                  <a:lnTo>
                    <a:pt x="225056" y="2476"/>
                  </a:lnTo>
                  <a:lnTo>
                    <a:pt x="215074" y="9207"/>
                  </a:lnTo>
                  <a:lnTo>
                    <a:pt x="208343" y="19189"/>
                  </a:lnTo>
                  <a:lnTo>
                    <a:pt x="205879" y="31419"/>
                  </a:lnTo>
                  <a:lnTo>
                    <a:pt x="208343" y="43649"/>
                  </a:lnTo>
                  <a:lnTo>
                    <a:pt x="215074" y="53632"/>
                  </a:lnTo>
                  <a:lnTo>
                    <a:pt x="225056" y="60363"/>
                  </a:lnTo>
                  <a:lnTo>
                    <a:pt x="237274" y="62826"/>
                  </a:lnTo>
                  <a:lnTo>
                    <a:pt x="249504" y="60363"/>
                  </a:lnTo>
                  <a:lnTo>
                    <a:pt x="259486" y="53632"/>
                  </a:lnTo>
                  <a:lnTo>
                    <a:pt x="266230" y="43649"/>
                  </a:lnTo>
                  <a:lnTo>
                    <a:pt x="268693" y="31419"/>
                  </a:lnTo>
                  <a:close/>
                </a:path>
                <a:path w="474980" h="474980">
                  <a:moveTo>
                    <a:pt x="295148" y="262432"/>
                  </a:moveTo>
                  <a:lnTo>
                    <a:pt x="293027" y="254508"/>
                  </a:lnTo>
                  <a:lnTo>
                    <a:pt x="280631" y="247357"/>
                  </a:lnTo>
                  <a:lnTo>
                    <a:pt x="272707" y="249478"/>
                  </a:lnTo>
                  <a:lnTo>
                    <a:pt x="265544" y="261874"/>
                  </a:lnTo>
                  <a:lnTo>
                    <a:pt x="267677" y="269798"/>
                  </a:lnTo>
                  <a:lnTo>
                    <a:pt x="273875" y="273380"/>
                  </a:lnTo>
                  <a:lnTo>
                    <a:pt x="280073" y="276961"/>
                  </a:lnTo>
                  <a:lnTo>
                    <a:pt x="287985" y="274828"/>
                  </a:lnTo>
                  <a:lnTo>
                    <a:pt x="295148" y="262432"/>
                  </a:lnTo>
                  <a:close/>
                </a:path>
                <a:path w="474980" h="474980">
                  <a:moveTo>
                    <a:pt x="295148" y="212153"/>
                  </a:moveTo>
                  <a:lnTo>
                    <a:pt x="287985" y="199758"/>
                  </a:lnTo>
                  <a:lnTo>
                    <a:pt x="280073" y="197624"/>
                  </a:lnTo>
                  <a:lnTo>
                    <a:pt x="267677" y="204774"/>
                  </a:lnTo>
                  <a:lnTo>
                    <a:pt x="265557" y="212699"/>
                  </a:lnTo>
                  <a:lnTo>
                    <a:pt x="272707" y="225107"/>
                  </a:lnTo>
                  <a:lnTo>
                    <a:pt x="280631" y="227228"/>
                  </a:lnTo>
                  <a:lnTo>
                    <a:pt x="286829" y="223647"/>
                  </a:lnTo>
                  <a:lnTo>
                    <a:pt x="293027" y="220065"/>
                  </a:lnTo>
                  <a:lnTo>
                    <a:pt x="295148" y="212153"/>
                  </a:lnTo>
                  <a:close/>
                </a:path>
                <a:path w="474980" h="474980">
                  <a:moveTo>
                    <a:pt x="344893" y="153225"/>
                  </a:moveTo>
                  <a:lnTo>
                    <a:pt x="343179" y="144360"/>
                  </a:lnTo>
                  <a:lnTo>
                    <a:pt x="338010" y="136575"/>
                  </a:lnTo>
                  <a:lnTo>
                    <a:pt x="330212" y="131394"/>
                  </a:lnTo>
                  <a:lnTo>
                    <a:pt x="321348" y="129667"/>
                  </a:lnTo>
                  <a:lnTo>
                    <a:pt x="312483" y="131394"/>
                  </a:lnTo>
                  <a:lnTo>
                    <a:pt x="304698" y="136575"/>
                  </a:lnTo>
                  <a:lnTo>
                    <a:pt x="299516" y="144360"/>
                  </a:lnTo>
                  <a:lnTo>
                    <a:pt x="297789" y="153225"/>
                  </a:lnTo>
                  <a:lnTo>
                    <a:pt x="299516" y="162090"/>
                  </a:lnTo>
                  <a:lnTo>
                    <a:pt x="304698" y="169887"/>
                  </a:lnTo>
                  <a:lnTo>
                    <a:pt x="312483" y="175056"/>
                  </a:lnTo>
                  <a:lnTo>
                    <a:pt x="321348" y="176784"/>
                  </a:lnTo>
                  <a:lnTo>
                    <a:pt x="330212" y="175056"/>
                  </a:lnTo>
                  <a:lnTo>
                    <a:pt x="338010" y="169887"/>
                  </a:lnTo>
                  <a:lnTo>
                    <a:pt x="343179" y="162090"/>
                  </a:lnTo>
                  <a:lnTo>
                    <a:pt x="344893" y="153225"/>
                  </a:lnTo>
                  <a:close/>
                </a:path>
                <a:path w="474980" h="474980">
                  <a:moveTo>
                    <a:pt x="344906" y="321348"/>
                  </a:moveTo>
                  <a:lnTo>
                    <a:pt x="343179" y="312496"/>
                  </a:lnTo>
                  <a:lnTo>
                    <a:pt x="337997" y="304698"/>
                  </a:lnTo>
                  <a:lnTo>
                    <a:pt x="330212" y="299529"/>
                  </a:lnTo>
                  <a:lnTo>
                    <a:pt x="321348" y="297802"/>
                  </a:lnTo>
                  <a:lnTo>
                    <a:pt x="312483" y="299529"/>
                  </a:lnTo>
                  <a:lnTo>
                    <a:pt x="304698" y="304698"/>
                  </a:lnTo>
                  <a:lnTo>
                    <a:pt x="299516" y="312496"/>
                  </a:lnTo>
                  <a:lnTo>
                    <a:pt x="297802" y="321348"/>
                  </a:lnTo>
                  <a:lnTo>
                    <a:pt x="299516" y="330212"/>
                  </a:lnTo>
                  <a:lnTo>
                    <a:pt x="304698" y="338010"/>
                  </a:lnTo>
                  <a:lnTo>
                    <a:pt x="312483" y="343179"/>
                  </a:lnTo>
                  <a:lnTo>
                    <a:pt x="321348" y="344906"/>
                  </a:lnTo>
                  <a:lnTo>
                    <a:pt x="330212" y="343179"/>
                  </a:lnTo>
                  <a:lnTo>
                    <a:pt x="337997" y="338010"/>
                  </a:lnTo>
                  <a:lnTo>
                    <a:pt x="343179" y="330212"/>
                  </a:lnTo>
                  <a:lnTo>
                    <a:pt x="344906" y="321348"/>
                  </a:lnTo>
                  <a:close/>
                </a:path>
                <a:path w="474980" h="474980">
                  <a:moveTo>
                    <a:pt x="371398" y="411695"/>
                  </a:moveTo>
                  <a:lnTo>
                    <a:pt x="367423" y="399872"/>
                  </a:lnTo>
                  <a:lnTo>
                    <a:pt x="359168" y="390525"/>
                  </a:lnTo>
                  <a:lnTo>
                    <a:pt x="348348" y="385241"/>
                  </a:lnTo>
                  <a:lnTo>
                    <a:pt x="336346" y="384403"/>
                  </a:lnTo>
                  <a:lnTo>
                    <a:pt x="324523" y="388391"/>
                  </a:lnTo>
                  <a:lnTo>
                    <a:pt x="315163" y="396633"/>
                  </a:lnTo>
                  <a:lnTo>
                    <a:pt x="309880" y="407454"/>
                  </a:lnTo>
                  <a:lnTo>
                    <a:pt x="309054" y="419468"/>
                  </a:lnTo>
                  <a:lnTo>
                    <a:pt x="313016" y="431292"/>
                  </a:lnTo>
                  <a:lnTo>
                    <a:pt x="321271" y="440639"/>
                  </a:lnTo>
                  <a:lnTo>
                    <a:pt x="332092" y="445922"/>
                  </a:lnTo>
                  <a:lnTo>
                    <a:pt x="344106" y="446760"/>
                  </a:lnTo>
                  <a:lnTo>
                    <a:pt x="355917" y="442785"/>
                  </a:lnTo>
                  <a:lnTo>
                    <a:pt x="365277" y="434530"/>
                  </a:lnTo>
                  <a:lnTo>
                    <a:pt x="370560" y="423710"/>
                  </a:lnTo>
                  <a:lnTo>
                    <a:pt x="371398" y="411695"/>
                  </a:lnTo>
                  <a:close/>
                </a:path>
                <a:path w="474980" h="474980">
                  <a:moveTo>
                    <a:pt x="371398" y="62877"/>
                  </a:moveTo>
                  <a:lnTo>
                    <a:pt x="370560" y="50863"/>
                  </a:lnTo>
                  <a:lnTo>
                    <a:pt x="365277" y="40055"/>
                  </a:lnTo>
                  <a:lnTo>
                    <a:pt x="355930" y="31800"/>
                  </a:lnTo>
                  <a:lnTo>
                    <a:pt x="344106" y="27825"/>
                  </a:lnTo>
                  <a:lnTo>
                    <a:pt x="332092" y="28663"/>
                  </a:lnTo>
                  <a:lnTo>
                    <a:pt x="321271" y="33934"/>
                  </a:lnTo>
                  <a:lnTo>
                    <a:pt x="313029" y="43294"/>
                  </a:lnTo>
                  <a:lnTo>
                    <a:pt x="309054" y="55118"/>
                  </a:lnTo>
                  <a:lnTo>
                    <a:pt x="309892" y="67132"/>
                  </a:lnTo>
                  <a:lnTo>
                    <a:pt x="315163" y="77952"/>
                  </a:lnTo>
                  <a:lnTo>
                    <a:pt x="324523" y="86194"/>
                  </a:lnTo>
                  <a:lnTo>
                    <a:pt x="336346" y="90170"/>
                  </a:lnTo>
                  <a:lnTo>
                    <a:pt x="348348" y="89331"/>
                  </a:lnTo>
                  <a:lnTo>
                    <a:pt x="359168" y="84061"/>
                  </a:lnTo>
                  <a:lnTo>
                    <a:pt x="367423" y="74701"/>
                  </a:lnTo>
                  <a:lnTo>
                    <a:pt x="371398" y="62877"/>
                  </a:lnTo>
                  <a:close/>
                </a:path>
                <a:path w="474980" h="474980">
                  <a:moveTo>
                    <a:pt x="379717" y="237286"/>
                  </a:moveTo>
                  <a:lnTo>
                    <a:pt x="377863" y="228117"/>
                  </a:lnTo>
                  <a:lnTo>
                    <a:pt x="372821" y="220637"/>
                  </a:lnTo>
                  <a:lnTo>
                    <a:pt x="365340" y="215582"/>
                  </a:lnTo>
                  <a:lnTo>
                    <a:pt x="356171" y="213741"/>
                  </a:lnTo>
                  <a:lnTo>
                    <a:pt x="347002" y="215582"/>
                  </a:lnTo>
                  <a:lnTo>
                    <a:pt x="339509" y="220637"/>
                  </a:lnTo>
                  <a:lnTo>
                    <a:pt x="334467" y="228117"/>
                  </a:lnTo>
                  <a:lnTo>
                    <a:pt x="332625" y="237286"/>
                  </a:lnTo>
                  <a:lnTo>
                    <a:pt x="334467" y="246456"/>
                  </a:lnTo>
                  <a:lnTo>
                    <a:pt x="339509" y="253949"/>
                  </a:lnTo>
                  <a:lnTo>
                    <a:pt x="347002" y="258991"/>
                  </a:lnTo>
                  <a:lnTo>
                    <a:pt x="356171" y="260845"/>
                  </a:lnTo>
                  <a:lnTo>
                    <a:pt x="365340" y="258991"/>
                  </a:lnTo>
                  <a:lnTo>
                    <a:pt x="372821" y="253949"/>
                  </a:lnTo>
                  <a:lnTo>
                    <a:pt x="377863" y="246456"/>
                  </a:lnTo>
                  <a:lnTo>
                    <a:pt x="379717" y="237286"/>
                  </a:lnTo>
                  <a:close/>
                </a:path>
                <a:path w="474980" h="474980">
                  <a:moveTo>
                    <a:pt x="446747" y="344106"/>
                  </a:moveTo>
                  <a:lnTo>
                    <a:pt x="445909" y="332092"/>
                  </a:lnTo>
                  <a:lnTo>
                    <a:pt x="440639" y="321284"/>
                  </a:lnTo>
                  <a:lnTo>
                    <a:pt x="431292" y="313029"/>
                  </a:lnTo>
                  <a:lnTo>
                    <a:pt x="419468" y="309054"/>
                  </a:lnTo>
                  <a:lnTo>
                    <a:pt x="407454" y="309892"/>
                  </a:lnTo>
                  <a:lnTo>
                    <a:pt x="396621" y="315175"/>
                  </a:lnTo>
                  <a:lnTo>
                    <a:pt x="388378" y="324523"/>
                  </a:lnTo>
                  <a:lnTo>
                    <a:pt x="384403" y="336346"/>
                  </a:lnTo>
                  <a:lnTo>
                    <a:pt x="385241" y="348361"/>
                  </a:lnTo>
                  <a:lnTo>
                    <a:pt x="390525" y="359181"/>
                  </a:lnTo>
                  <a:lnTo>
                    <a:pt x="399872" y="367423"/>
                  </a:lnTo>
                  <a:lnTo>
                    <a:pt x="411695" y="371398"/>
                  </a:lnTo>
                  <a:lnTo>
                    <a:pt x="423710" y="370560"/>
                  </a:lnTo>
                  <a:lnTo>
                    <a:pt x="434530" y="365290"/>
                  </a:lnTo>
                  <a:lnTo>
                    <a:pt x="442772" y="355930"/>
                  </a:lnTo>
                  <a:lnTo>
                    <a:pt x="446747" y="344106"/>
                  </a:lnTo>
                  <a:close/>
                </a:path>
                <a:path w="474980" h="474980">
                  <a:moveTo>
                    <a:pt x="446747" y="130467"/>
                  </a:moveTo>
                  <a:lnTo>
                    <a:pt x="442772" y="118656"/>
                  </a:lnTo>
                  <a:lnTo>
                    <a:pt x="434530" y="109296"/>
                  </a:lnTo>
                  <a:lnTo>
                    <a:pt x="423710" y="104025"/>
                  </a:lnTo>
                  <a:lnTo>
                    <a:pt x="411695" y="103187"/>
                  </a:lnTo>
                  <a:lnTo>
                    <a:pt x="399872" y="107162"/>
                  </a:lnTo>
                  <a:lnTo>
                    <a:pt x="390525" y="115404"/>
                  </a:lnTo>
                  <a:lnTo>
                    <a:pt x="385241" y="126225"/>
                  </a:lnTo>
                  <a:lnTo>
                    <a:pt x="384403" y="138239"/>
                  </a:lnTo>
                  <a:lnTo>
                    <a:pt x="388378" y="150050"/>
                  </a:lnTo>
                  <a:lnTo>
                    <a:pt x="396633" y="159410"/>
                  </a:lnTo>
                  <a:lnTo>
                    <a:pt x="407454" y="164693"/>
                  </a:lnTo>
                  <a:lnTo>
                    <a:pt x="419455" y="165531"/>
                  </a:lnTo>
                  <a:lnTo>
                    <a:pt x="431279" y="161556"/>
                  </a:lnTo>
                  <a:lnTo>
                    <a:pt x="440639" y="153301"/>
                  </a:lnTo>
                  <a:lnTo>
                    <a:pt x="445909" y="142481"/>
                  </a:lnTo>
                  <a:lnTo>
                    <a:pt x="446747" y="130467"/>
                  </a:lnTo>
                  <a:close/>
                </a:path>
                <a:path w="474980" h="474980">
                  <a:moveTo>
                    <a:pt x="474573" y="237286"/>
                  </a:moveTo>
                  <a:lnTo>
                    <a:pt x="472109" y="225069"/>
                  </a:lnTo>
                  <a:lnTo>
                    <a:pt x="465366" y="215087"/>
                  </a:lnTo>
                  <a:lnTo>
                    <a:pt x="455383" y="208356"/>
                  </a:lnTo>
                  <a:lnTo>
                    <a:pt x="443153" y="205879"/>
                  </a:lnTo>
                  <a:lnTo>
                    <a:pt x="430936" y="208356"/>
                  </a:lnTo>
                  <a:lnTo>
                    <a:pt x="420941" y="215087"/>
                  </a:lnTo>
                  <a:lnTo>
                    <a:pt x="414210" y="225069"/>
                  </a:lnTo>
                  <a:lnTo>
                    <a:pt x="411746" y="237286"/>
                  </a:lnTo>
                  <a:lnTo>
                    <a:pt x="414210" y="249516"/>
                  </a:lnTo>
                  <a:lnTo>
                    <a:pt x="420941" y="259499"/>
                  </a:lnTo>
                  <a:lnTo>
                    <a:pt x="430936" y="266230"/>
                  </a:lnTo>
                  <a:lnTo>
                    <a:pt x="443153" y="268693"/>
                  </a:lnTo>
                  <a:lnTo>
                    <a:pt x="455383" y="266230"/>
                  </a:lnTo>
                  <a:lnTo>
                    <a:pt x="465366" y="259499"/>
                  </a:lnTo>
                  <a:lnTo>
                    <a:pt x="472109" y="249516"/>
                  </a:lnTo>
                  <a:lnTo>
                    <a:pt x="474573" y="237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E4F8CAE-BBBF-81FB-95F8-23CFCB2738C9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  <a:solidFill>
            <a:schemeClr val="bg1"/>
          </a:solidFill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D0DA492A-03D2-4182-D822-E624937D7BFD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ADCB3C0-6B98-B00A-C41B-BAAB0853E94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789767C6-2183-D846-FB83-97C49300043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2D7F38E-78E2-A483-D29C-00FF8A436B42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1CDF308D-6446-674C-8915-F372665C9561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A5685119-0475-BCB4-17C6-05D273F5353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8" name="object 3">
            <a:extLst>
              <a:ext uri="{FF2B5EF4-FFF2-40B4-BE49-F238E27FC236}">
                <a16:creationId xmlns:a16="http://schemas.microsoft.com/office/drawing/2014/main" id="{97997FAB-742A-48C9-3343-1D09A9A5D4AC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D7BAE17-A6A2-AD34-3820-89C2C4E82C7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448426" y="2095500"/>
            <a:ext cx="5310187" cy="36639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 b="1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sz="2200"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>
              <a:defRPr sz="22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97761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D6047-A25C-7D70-1F8B-67AEFAF6A4E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59" y="1763713"/>
            <a:ext cx="5472000" cy="4660900"/>
          </a:xfrm>
          <a:prstGeom prst="roundRect">
            <a:avLst>
              <a:gd name="adj" fmla="val 2948"/>
            </a:avLst>
          </a:prstGeom>
          <a:solidFill>
            <a:schemeClr val="bg2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15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1153525"/>
            <a:ext cx="77757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2E8299F-10C0-3D54-F5EA-775E5DDC85E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81394" y="1763713"/>
            <a:ext cx="5472000" cy="4660900"/>
          </a:xfrm>
          <a:prstGeom prst="roundRect">
            <a:avLst>
              <a:gd name="adj" fmla="val 2948"/>
            </a:avLst>
          </a:prstGeom>
          <a:solidFill>
            <a:schemeClr val="accent3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buSzPct val="120000"/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 algn="ctr">
              <a:buSzPct val="130000"/>
              <a:buFont typeface="Wingdings" panose="05000000000000000000" pitchFamily="2" charset="2"/>
              <a:buChar char=""/>
              <a:defRPr sz="15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0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D6047-A25C-7D70-1F8B-67AEFAF6A4E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1763713"/>
            <a:ext cx="3603951" cy="4660900"/>
          </a:xfrm>
          <a:prstGeom prst="roundRect">
            <a:avLst>
              <a:gd name="adj" fmla="val 2997"/>
            </a:avLst>
          </a:prstGeom>
          <a:solidFill>
            <a:schemeClr val="bg2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22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1153525"/>
            <a:ext cx="77757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C5C5BE2-57B5-23E6-6993-424A270A025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298711" y="1763713"/>
            <a:ext cx="3603951" cy="4660900"/>
          </a:xfrm>
          <a:prstGeom prst="roundRect">
            <a:avLst>
              <a:gd name="adj" fmla="val 2997"/>
            </a:avLst>
          </a:prstGeom>
          <a:solidFill>
            <a:schemeClr val="accent3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22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5645987-F1E1-FFB1-1261-05C45635E9C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154662" y="1763713"/>
            <a:ext cx="3603951" cy="4660900"/>
          </a:xfrm>
          <a:prstGeom prst="roundRect">
            <a:avLst>
              <a:gd name="adj" fmla="val 2997"/>
            </a:avLst>
          </a:prstGeom>
          <a:solidFill>
            <a:schemeClr val="accent4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22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</p:txBody>
      </p:sp>
    </p:spTree>
    <p:extLst>
      <p:ext uri="{BB962C8B-B14F-4D97-AF65-F5344CB8AC3E}">
        <p14:creationId xmlns:p14="http://schemas.microsoft.com/office/powerpoint/2010/main" val="6067440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lumn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D6047-A25C-7D70-1F8B-67AEFAF6A4E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1763713"/>
            <a:ext cx="5567927" cy="2240450"/>
          </a:xfrm>
          <a:prstGeom prst="roundRect">
            <a:avLst>
              <a:gd name="adj" fmla="val 4820"/>
            </a:avLst>
          </a:prstGeom>
          <a:solidFill>
            <a:schemeClr val="bg2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22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3"/>
            <a:r>
              <a:rPr lang="en-US" dirty="0"/>
              <a:t>Intro text 26pt </a:t>
            </a:r>
          </a:p>
          <a:p>
            <a:pPr lvl="4"/>
            <a:r>
              <a:rPr lang="en-US" dirty="0"/>
              <a:t>Bold Copy 15pt</a:t>
            </a:r>
          </a:p>
          <a:p>
            <a:pPr lvl="5"/>
            <a:r>
              <a:rPr lang="en-US" dirty="0"/>
              <a:t>Nested Bullet 15pt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1153525"/>
            <a:ext cx="77757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0916EF3-F32B-36D6-870D-105D25A4893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190687" y="1763713"/>
            <a:ext cx="5567927" cy="2240450"/>
          </a:xfrm>
          <a:prstGeom prst="roundRect">
            <a:avLst>
              <a:gd name="adj" fmla="val 4820"/>
            </a:avLst>
          </a:prstGeom>
          <a:solidFill>
            <a:schemeClr val="accent4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22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3"/>
            <a:r>
              <a:rPr lang="en-US" dirty="0"/>
              <a:t>Intro text 26pt </a:t>
            </a:r>
          </a:p>
          <a:p>
            <a:pPr lvl="4"/>
            <a:r>
              <a:rPr lang="en-US" dirty="0"/>
              <a:t>Bold Copy 15pt</a:t>
            </a:r>
          </a:p>
          <a:p>
            <a:pPr lvl="5"/>
            <a:r>
              <a:rPr lang="en-US" dirty="0"/>
              <a:t>Nested Bullet 15ptp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B66A822-F2EE-A387-37D3-4DEA44253A6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42760" y="4184163"/>
            <a:ext cx="5567927" cy="2240450"/>
          </a:xfrm>
          <a:prstGeom prst="roundRect">
            <a:avLst>
              <a:gd name="adj" fmla="val 4820"/>
            </a:avLst>
          </a:prstGeom>
          <a:solidFill>
            <a:schemeClr val="accent5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22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3"/>
            <a:r>
              <a:rPr lang="en-US" dirty="0"/>
              <a:t>Intro text 26pt </a:t>
            </a:r>
          </a:p>
          <a:p>
            <a:pPr lvl="4"/>
            <a:r>
              <a:rPr lang="en-US" dirty="0"/>
              <a:t>Bold Copy 15pt</a:t>
            </a:r>
          </a:p>
          <a:p>
            <a:pPr lvl="5"/>
            <a:r>
              <a:rPr lang="en-US" dirty="0"/>
              <a:t>Nested Bullet 15ptp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D46D81F-3D77-5E1E-E8C0-7DF536F50CD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190687" y="4184163"/>
            <a:ext cx="5567927" cy="2240450"/>
          </a:xfrm>
          <a:prstGeom prst="roundRect">
            <a:avLst>
              <a:gd name="adj" fmla="val 4820"/>
            </a:avLst>
          </a:prstGeom>
          <a:solidFill>
            <a:schemeClr val="accent3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22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3"/>
            <a:r>
              <a:rPr lang="en-US" dirty="0"/>
              <a:t>Intro text 26pt </a:t>
            </a:r>
          </a:p>
          <a:p>
            <a:pPr lvl="4"/>
            <a:r>
              <a:rPr lang="en-US" dirty="0"/>
              <a:t>Bold Copy 15pt</a:t>
            </a:r>
          </a:p>
          <a:p>
            <a:pPr lvl="5"/>
            <a:r>
              <a:rPr lang="en-US" dirty="0"/>
              <a:t>Nested Bullet 15ptpt</a:t>
            </a:r>
          </a:p>
        </p:txBody>
      </p:sp>
    </p:spTree>
    <p:extLst>
      <p:ext uri="{BB962C8B-B14F-4D97-AF65-F5344CB8AC3E}">
        <p14:creationId xmlns:p14="http://schemas.microsoft.com/office/powerpoint/2010/main" val="21304923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nd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EFB55CEC-C705-64BD-19ED-92185284C32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4760913"/>
            <a:ext cx="4591203" cy="1663700"/>
          </a:xfrm>
          <a:prstGeom prst="rect">
            <a:avLst/>
          </a:prstGeom>
          <a:noFill/>
        </p:spPr>
        <p:txBody>
          <a:bodyPr wrap="square" lIns="360000" tIns="360000" rIns="360000" bIns="360000" anchor="ctr">
            <a:noAutofit/>
          </a:bodyPr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15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59" y="1153525"/>
            <a:ext cx="77757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3F131363-B243-5336-A49C-AF246E14DB24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460362" y="1984313"/>
            <a:ext cx="2555999" cy="2556000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86F56996-6BA2-81A1-4733-F1F3E5CC540A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250730" y="1763713"/>
            <a:ext cx="6498512" cy="4660900"/>
          </a:xfrm>
          <a:prstGeom prst="rect">
            <a:avLst/>
          </a:prstGeom>
          <a:noFill/>
        </p:spPr>
        <p:txBody>
          <a:bodyPr lIns="360000" tIns="360000" rIns="360000" bIns="360000" anchor="ctr"/>
          <a:lstStyle>
            <a:lvl1pPr marL="263525" indent="0">
              <a:defRPr>
                <a:latin typeface="+mn-lt"/>
              </a:defRPr>
            </a:lvl1pPr>
            <a:lvl2pPr marL="442913" indent="-179388">
              <a:defRPr>
                <a:latin typeface="+mn-lt"/>
              </a:defRPr>
            </a:lvl2pPr>
            <a:lvl3pPr marL="263525" indent="0">
              <a:defRPr>
                <a:latin typeface="+mn-lt"/>
              </a:defRPr>
            </a:lvl3pPr>
            <a:lvl4pPr marL="263525" indent="-263525">
              <a:buSzPct val="100000"/>
              <a:buFont typeface="UKCEH Suisse" panose="020B0504000000000000" pitchFamily="34" charset="-78"/>
              <a:buChar char="•"/>
              <a:defRPr>
                <a:latin typeface="+mn-lt"/>
              </a:defRPr>
            </a:lvl4pPr>
            <a:lvl5pPr marL="263525" indent="0">
              <a:defRPr b="1">
                <a:latin typeface="+mn-lt"/>
              </a:defRPr>
            </a:lvl5pPr>
            <a:lvl6pPr marL="263525" indent="0">
              <a:defRPr>
                <a:latin typeface="+mn-lt"/>
              </a:defRPr>
            </a:lvl6pPr>
            <a:lvl7pPr marL="263525" indent="0">
              <a:defRPr>
                <a:latin typeface="+mn-lt"/>
              </a:defRPr>
            </a:lvl7pPr>
            <a:lvl8pPr marL="263525" indent="0">
              <a:defRPr>
                <a:latin typeface="+mn-lt"/>
              </a:defRPr>
            </a:lvl8pPr>
            <a:lvl9pPr marL="263525" indent="0">
              <a:defRPr>
                <a:latin typeface="+mn-lt"/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58829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Points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59" y="1153525"/>
            <a:ext cx="52992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2E8299F-10C0-3D54-F5EA-775E5DDC85E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473980" y="2762250"/>
            <a:ext cx="5040000" cy="29972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buSzPct val="120000"/>
              <a:defRPr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/>
            </a:lvl6pPr>
          </a:lstStyle>
          <a:p>
            <a:pPr lvl="0"/>
            <a:r>
              <a:rPr lang="en-US" dirty="0"/>
              <a:t>Body Copy 15pt</a:t>
            </a:r>
          </a:p>
          <a:p>
            <a:pPr lvl="1"/>
            <a:r>
              <a:rPr lang="en-US" dirty="0"/>
              <a:t>Bullet 15pt</a:t>
            </a:r>
          </a:p>
          <a:p>
            <a:pPr lvl="2"/>
            <a:r>
              <a:rPr lang="en-US" dirty="0"/>
              <a:t>Subheading 17pt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F51DF53-7A57-7591-630A-332C29C31FCA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473980" y="1153525"/>
            <a:ext cx="5040000" cy="465103"/>
          </a:xfrm>
        </p:spPr>
        <p:txBody>
          <a:bodyPr/>
          <a:lstStyle>
            <a:lvl1pPr>
              <a:defRPr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latin typeface="+mn-lt"/>
              </a:defRPr>
            </a:lvl2pPr>
            <a:lvl3pPr>
              <a:defRPr sz="2200" b="0">
                <a:latin typeface="+mn-lt"/>
                <a:cs typeface="UKCEH Suisse Semibold" panose="020B0704000000000000" pitchFamily="34" charset="-78"/>
              </a:defRPr>
            </a:lvl3pPr>
            <a:lvl4pPr>
              <a:defRPr>
                <a:latin typeface="+mn-lt"/>
              </a:defRPr>
            </a:lvl4pPr>
            <a:lvl5pPr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/>
            </a:lvl6pPr>
          </a:lstStyle>
          <a:p>
            <a:pPr lvl="0"/>
            <a:r>
              <a:rPr lang="en-US" dirty="0"/>
              <a:t>Subheading 17pt 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1702EC5-562E-39F2-8F3D-7AA4FD745D56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42760" y="2095172"/>
            <a:ext cx="4945216" cy="3663950"/>
          </a:xfrm>
        </p:spPr>
        <p:txBody>
          <a:bodyPr/>
          <a:lstStyle>
            <a:lvl1pPr marL="263525" indent="0">
              <a:defRPr>
                <a:latin typeface="+mn-lt"/>
              </a:defRPr>
            </a:lvl1pPr>
            <a:lvl2pPr marL="442913" indent="-179388">
              <a:defRPr>
                <a:latin typeface="+mn-lt"/>
              </a:defRPr>
            </a:lvl2pPr>
            <a:lvl3pPr marL="263525" indent="0">
              <a:defRPr>
                <a:latin typeface="+mn-lt"/>
              </a:defRPr>
            </a:lvl3pPr>
            <a:lvl4pPr marL="263525" indent="-263525">
              <a:buSzPct val="100000"/>
              <a:buFont typeface="UKCEH Suisse" panose="020B0504000000000000" pitchFamily="34" charset="-78"/>
              <a:buChar char="•"/>
              <a:defRPr>
                <a:latin typeface="+mn-lt"/>
              </a:defRPr>
            </a:lvl4pPr>
            <a:lvl5pPr marL="263525" indent="0">
              <a:defRPr b="1">
                <a:latin typeface="+mn-lt"/>
              </a:defRPr>
            </a:lvl5pPr>
            <a:lvl6pPr marL="263525" indent="0">
              <a:defRPr>
                <a:latin typeface="+mn-lt"/>
              </a:defRPr>
            </a:lvl6pPr>
            <a:lvl7pPr marL="263525" indent="0">
              <a:defRPr>
                <a:latin typeface="+mn-lt"/>
              </a:defRPr>
            </a:lvl7pPr>
            <a:lvl8pPr marL="263525" indent="0">
              <a:defRPr>
                <a:latin typeface="+mn-lt"/>
              </a:defRPr>
            </a:lvl8pPr>
            <a:lvl9pPr marL="263525" indent="0">
              <a:defRPr>
                <a:latin typeface="+mn-lt"/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60752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59" y="1153525"/>
            <a:ext cx="52992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2E8299F-10C0-3D54-F5EA-775E5DDC85E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473980" y="2762250"/>
            <a:ext cx="5040000" cy="29972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buSzPct val="120000"/>
              <a:defRPr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/>
            </a:lvl6pPr>
          </a:lstStyle>
          <a:p>
            <a:pPr lvl="0"/>
            <a:r>
              <a:rPr lang="en-US" dirty="0"/>
              <a:t>Body Copy 15pt</a:t>
            </a:r>
          </a:p>
          <a:p>
            <a:pPr lvl="1"/>
            <a:r>
              <a:rPr lang="en-US" dirty="0"/>
              <a:t>Bullet 15pt</a:t>
            </a:r>
          </a:p>
          <a:p>
            <a:pPr lvl="2"/>
            <a:r>
              <a:rPr lang="en-US" dirty="0"/>
              <a:t>Subheading 17pt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F51DF53-7A57-7591-630A-332C29C31FCA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473980" y="1153525"/>
            <a:ext cx="5040000" cy="465103"/>
          </a:xfrm>
        </p:spPr>
        <p:txBody>
          <a:bodyPr/>
          <a:lstStyle>
            <a:lvl1pPr>
              <a:defRPr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latin typeface="+mn-lt"/>
              </a:defRPr>
            </a:lvl2pPr>
            <a:lvl3pPr>
              <a:defRPr sz="2200" b="0">
                <a:latin typeface="+mn-lt"/>
                <a:cs typeface="UKCEH Suisse Semibold" panose="020B0704000000000000" pitchFamily="34" charset="-78"/>
              </a:defRPr>
            </a:lvl3pPr>
            <a:lvl4pPr>
              <a:defRPr>
                <a:latin typeface="+mn-lt"/>
              </a:defRPr>
            </a:lvl4pPr>
            <a:lvl5pPr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/>
            </a:lvl6pPr>
          </a:lstStyle>
          <a:p>
            <a:pPr lvl="0"/>
            <a:r>
              <a:rPr lang="en-US" dirty="0"/>
              <a:t>Subheading 17pt 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1702EC5-562E-39F2-8F3D-7AA4FD745D56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42760" y="2095172"/>
            <a:ext cx="4945216" cy="3663950"/>
          </a:xfrm>
        </p:spPr>
        <p:txBody>
          <a:bodyPr/>
          <a:lstStyle>
            <a:lvl1pPr marL="263525" indent="0">
              <a:defRPr>
                <a:latin typeface="+mn-lt"/>
              </a:defRPr>
            </a:lvl1pPr>
            <a:lvl2pPr marL="442913" indent="-179388">
              <a:defRPr>
                <a:latin typeface="+mn-lt"/>
              </a:defRPr>
            </a:lvl2pPr>
            <a:lvl3pPr marL="263525" indent="0">
              <a:defRPr>
                <a:latin typeface="+mn-lt"/>
              </a:defRPr>
            </a:lvl3pPr>
            <a:lvl4pPr marL="263525" indent="-263525">
              <a:buSzPct val="100000"/>
              <a:buFont typeface="UKCEH Suisse" panose="020B0504000000000000" pitchFamily="34" charset="-78"/>
              <a:buChar char="•"/>
              <a:defRPr>
                <a:latin typeface="+mn-lt"/>
              </a:defRPr>
            </a:lvl4pPr>
            <a:lvl5pPr marL="263525" indent="0">
              <a:defRPr b="1">
                <a:latin typeface="+mn-lt"/>
              </a:defRPr>
            </a:lvl5pPr>
            <a:lvl6pPr marL="263525" indent="0">
              <a:defRPr>
                <a:latin typeface="+mn-lt"/>
              </a:defRPr>
            </a:lvl6pPr>
            <a:lvl7pPr marL="263525" indent="0">
              <a:defRPr>
                <a:latin typeface="+mn-lt"/>
              </a:defRPr>
            </a:lvl7pPr>
            <a:lvl8pPr marL="263525" indent="0">
              <a:defRPr>
                <a:latin typeface="+mn-lt"/>
              </a:defRPr>
            </a:lvl8pPr>
            <a:lvl9pPr marL="263525" indent="0">
              <a:defRPr>
                <a:latin typeface="+mn-lt"/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74850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B21AC16-59EE-E4C2-7447-381AD096B565}"/>
              </a:ext>
            </a:extLst>
          </p:cNvPr>
          <p:cNvGrpSpPr/>
          <p:nvPr userDrawn="1"/>
        </p:nvGrpSpPr>
        <p:grpSpPr>
          <a:xfrm>
            <a:off x="7244079" y="4977550"/>
            <a:ext cx="3806509" cy="560461"/>
            <a:chOff x="444894" y="5891285"/>
            <a:chExt cx="3806509" cy="560461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0EA0FEA6-EEEE-BCA4-FC3C-67250D6B2ABC}"/>
                </a:ext>
              </a:extLst>
            </p:cNvPr>
            <p:cNvGrpSpPr/>
            <p:nvPr userDrawn="1"/>
          </p:nvGrpSpPr>
          <p:grpSpPr>
            <a:xfrm>
              <a:off x="444894" y="5891285"/>
              <a:ext cx="2121117" cy="560461"/>
              <a:chOff x="444894" y="5881858"/>
              <a:chExt cx="2121117" cy="560461"/>
            </a:xfrm>
          </p:grpSpPr>
          <p:sp>
            <p:nvSpPr>
              <p:cNvPr id="8" name="object 8"/>
              <p:cNvSpPr/>
              <p:nvPr/>
            </p:nvSpPr>
            <p:spPr>
              <a:xfrm>
                <a:off x="1097760" y="5990273"/>
                <a:ext cx="1468251" cy="341167"/>
              </a:xfrm>
              <a:custGeom>
                <a:avLst/>
                <a:gdLst/>
                <a:ahLst/>
                <a:cxnLst/>
                <a:rect l="l" t="t" r="r" b="b"/>
                <a:pathLst>
                  <a:path w="2421254" h="562609">
                    <a:moveTo>
                      <a:pt x="76395" y="9737"/>
                    </a:moveTo>
                    <a:lnTo>
                      <a:pt x="0" y="9737"/>
                    </a:lnTo>
                    <a:lnTo>
                      <a:pt x="0" y="331801"/>
                    </a:lnTo>
                    <a:lnTo>
                      <a:pt x="3125" y="390312"/>
                    </a:lnTo>
                    <a:lnTo>
                      <a:pt x="12649" y="439255"/>
                    </a:lnTo>
                    <a:lnTo>
                      <a:pt x="28791" y="479175"/>
                    </a:lnTo>
                    <a:lnTo>
                      <a:pt x="51770" y="510615"/>
                    </a:lnTo>
                    <a:lnTo>
                      <a:pt x="81806" y="534120"/>
                    </a:lnTo>
                    <a:lnTo>
                      <a:pt x="119119" y="550236"/>
                    </a:lnTo>
                    <a:lnTo>
                      <a:pt x="163928" y="559506"/>
                    </a:lnTo>
                    <a:lnTo>
                      <a:pt x="216454" y="562475"/>
                    </a:lnTo>
                    <a:lnTo>
                      <a:pt x="271225" y="558818"/>
                    </a:lnTo>
                    <a:lnTo>
                      <a:pt x="317298" y="547824"/>
                    </a:lnTo>
                    <a:lnTo>
                      <a:pt x="355103" y="529458"/>
                    </a:lnTo>
                    <a:lnTo>
                      <a:pt x="385070" y="503684"/>
                    </a:lnTo>
                    <a:lnTo>
                      <a:pt x="389901" y="496571"/>
                    </a:lnTo>
                    <a:lnTo>
                      <a:pt x="216454" y="496571"/>
                    </a:lnTo>
                    <a:lnTo>
                      <a:pt x="162773" y="490573"/>
                    </a:lnTo>
                    <a:lnTo>
                      <a:pt x="123149" y="472316"/>
                    </a:lnTo>
                    <a:lnTo>
                      <a:pt x="96360" y="441403"/>
                    </a:lnTo>
                    <a:lnTo>
                      <a:pt x="81183" y="397440"/>
                    </a:lnTo>
                    <a:lnTo>
                      <a:pt x="76395" y="340031"/>
                    </a:lnTo>
                    <a:lnTo>
                      <a:pt x="76395" y="9737"/>
                    </a:lnTo>
                    <a:close/>
                  </a:path>
                  <a:path w="2421254" h="562609">
                    <a:moveTo>
                      <a:pt x="435159" y="9737"/>
                    </a:moveTo>
                    <a:lnTo>
                      <a:pt x="358763" y="9737"/>
                    </a:lnTo>
                    <a:lnTo>
                      <a:pt x="358763" y="331801"/>
                    </a:lnTo>
                    <a:lnTo>
                      <a:pt x="355452" y="381192"/>
                    </a:lnTo>
                    <a:lnTo>
                      <a:pt x="345004" y="422117"/>
                    </a:lnTo>
                    <a:lnTo>
                      <a:pt x="299621" y="477652"/>
                    </a:lnTo>
                    <a:lnTo>
                      <a:pt x="263145" y="491803"/>
                    </a:lnTo>
                    <a:lnTo>
                      <a:pt x="216454" y="496571"/>
                    </a:lnTo>
                    <a:lnTo>
                      <a:pt x="389901" y="496571"/>
                    </a:lnTo>
                    <a:lnTo>
                      <a:pt x="407629" y="470467"/>
                    </a:lnTo>
                    <a:lnTo>
                      <a:pt x="423210" y="429771"/>
                    </a:lnTo>
                    <a:lnTo>
                      <a:pt x="432244" y="381561"/>
                    </a:lnTo>
                    <a:lnTo>
                      <a:pt x="435159" y="325801"/>
                    </a:lnTo>
                    <a:lnTo>
                      <a:pt x="435159" y="9737"/>
                    </a:lnTo>
                    <a:close/>
                  </a:path>
                  <a:path w="2421254" h="562609">
                    <a:moveTo>
                      <a:pt x="609656" y="9737"/>
                    </a:moveTo>
                    <a:lnTo>
                      <a:pt x="533261" y="9737"/>
                    </a:lnTo>
                    <a:lnTo>
                      <a:pt x="533261" y="552737"/>
                    </a:lnTo>
                    <a:lnTo>
                      <a:pt x="609656" y="552737"/>
                    </a:lnTo>
                    <a:lnTo>
                      <a:pt x="609656" y="381977"/>
                    </a:lnTo>
                    <a:lnTo>
                      <a:pt x="695036" y="287614"/>
                    </a:lnTo>
                    <a:lnTo>
                      <a:pt x="786259" y="287614"/>
                    </a:lnTo>
                    <a:lnTo>
                      <a:pt x="783089" y="283111"/>
                    </a:lnTo>
                    <a:lnTo>
                      <a:pt x="609656" y="283111"/>
                    </a:lnTo>
                    <a:lnTo>
                      <a:pt x="609656" y="9737"/>
                    </a:lnTo>
                    <a:close/>
                  </a:path>
                  <a:path w="2421254" h="562609">
                    <a:moveTo>
                      <a:pt x="786259" y="287614"/>
                    </a:moveTo>
                    <a:lnTo>
                      <a:pt x="695036" y="287614"/>
                    </a:lnTo>
                    <a:lnTo>
                      <a:pt x="881533" y="552737"/>
                    </a:lnTo>
                    <a:lnTo>
                      <a:pt x="972912" y="552737"/>
                    </a:lnTo>
                    <a:lnTo>
                      <a:pt x="786259" y="287614"/>
                    </a:lnTo>
                    <a:close/>
                  </a:path>
                  <a:path w="2421254" h="562609">
                    <a:moveTo>
                      <a:pt x="949698" y="9737"/>
                    </a:moveTo>
                    <a:lnTo>
                      <a:pt x="854570" y="9737"/>
                    </a:lnTo>
                    <a:lnTo>
                      <a:pt x="609656" y="283111"/>
                    </a:lnTo>
                    <a:lnTo>
                      <a:pt x="783089" y="283111"/>
                    </a:lnTo>
                    <a:lnTo>
                      <a:pt x="746710" y="231437"/>
                    </a:lnTo>
                    <a:lnTo>
                      <a:pt x="949698" y="9737"/>
                    </a:lnTo>
                    <a:close/>
                  </a:path>
                  <a:path w="2421254" h="562609">
                    <a:moveTo>
                      <a:pt x="1228297" y="0"/>
                    </a:moveTo>
                    <a:lnTo>
                      <a:pt x="1179400" y="4082"/>
                    </a:lnTo>
                    <a:lnTo>
                      <a:pt x="1134825" y="16018"/>
                    </a:lnTo>
                    <a:lnTo>
                      <a:pt x="1094903" y="35377"/>
                    </a:lnTo>
                    <a:lnTo>
                      <a:pt x="1060167" y="61576"/>
                    </a:lnTo>
                    <a:lnTo>
                      <a:pt x="1030848" y="94262"/>
                    </a:lnTo>
                    <a:lnTo>
                      <a:pt x="1007380" y="132927"/>
                    </a:lnTo>
                    <a:lnTo>
                      <a:pt x="990144" y="177103"/>
                    </a:lnTo>
                    <a:lnTo>
                      <a:pt x="979522" y="226323"/>
                    </a:lnTo>
                    <a:lnTo>
                      <a:pt x="975896" y="280117"/>
                    </a:lnTo>
                    <a:lnTo>
                      <a:pt x="979218" y="333199"/>
                    </a:lnTo>
                    <a:lnTo>
                      <a:pt x="989042" y="382205"/>
                    </a:lnTo>
                    <a:lnTo>
                      <a:pt x="1005160" y="426556"/>
                    </a:lnTo>
                    <a:lnTo>
                      <a:pt x="1027361" y="465673"/>
                    </a:lnTo>
                    <a:lnTo>
                      <a:pt x="1055438" y="498977"/>
                    </a:lnTo>
                    <a:lnTo>
                      <a:pt x="1089181" y="525888"/>
                    </a:lnTo>
                    <a:lnTo>
                      <a:pt x="1128379" y="545828"/>
                    </a:lnTo>
                    <a:lnTo>
                      <a:pt x="1172825" y="558216"/>
                    </a:lnTo>
                    <a:lnTo>
                      <a:pt x="1222308" y="562475"/>
                    </a:lnTo>
                    <a:lnTo>
                      <a:pt x="1271099" y="558640"/>
                    </a:lnTo>
                    <a:lnTo>
                      <a:pt x="1316158" y="547208"/>
                    </a:lnTo>
                    <a:lnTo>
                      <a:pt x="1356685" y="528281"/>
                    </a:lnTo>
                    <a:lnTo>
                      <a:pt x="1391881" y="501965"/>
                    </a:lnTo>
                    <a:lnTo>
                      <a:pt x="1395252" y="498068"/>
                    </a:lnTo>
                    <a:lnTo>
                      <a:pt x="1226800" y="498068"/>
                    </a:lnTo>
                    <a:lnTo>
                      <a:pt x="1185380" y="493227"/>
                    </a:lnTo>
                    <a:lnTo>
                      <a:pt x="1148282" y="478967"/>
                    </a:lnTo>
                    <a:lnTo>
                      <a:pt x="1116254" y="455680"/>
                    </a:lnTo>
                    <a:lnTo>
                      <a:pt x="1090042" y="423759"/>
                    </a:lnTo>
                    <a:lnTo>
                      <a:pt x="1070394" y="383596"/>
                    </a:lnTo>
                    <a:lnTo>
                      <a:pt x="1058057" y="335584"/>
                    </a:lnTo>
                    <a:lnTo>
                      <a:pt x="1053779" y="280117"/>
                    </a:lnTo>
                    <a:lnTo>
                      <a:pt x="1058208" y="223834"/>
                    </a:lnTo>
                    <a:lnTo>
                      <a:pt x="1070865" y="175779"/>
                    </a:lnTo>
                    <a:lnTo>
                      <a:pt x="1090808" y="136108"/>
                    </a:lnTo>
                    <a:lnTo>
                      <a:pt x="1117091" y="104979"/>
                    </a:lnTo>
                    <a:lnTo>
                      <a:pt x="1148772" y="82549"/>
                    </a:lnTo>
                    <a:lnTo>
                      <a:pt x="1184905" y="68976"/>
                    </a:lnTo>
                    <a:lnTo>
                      <a:pt x="1224549" y="64416"/>
                    </a:lnTo>
                    <a:lnTo>
                      <a:pt x="1392710" y="64416"/>
                    </a:lnTo>
                    <a:lnTo>
                      <a:pt x="1390770" y="62087"/>
                    </a:lnTo>
                    <a:lnTo>
                      <a:pt x="1356937" y="35377"/>
                    </a:lnTo>
                    <a:lnTo>
                      <a:pt x="1318263" y="16018"/>
                    </a:lnTo>
                    <a:lnTo>
                      <a:pt x="1318417" y="16018"/>
                    </a:lnTo>
                    <a:lnTo>
                      <a:pt x="1275128" y="4082"/>
                    </a:lnTo>
                    <a:lnTo>
                      <a:pt x="1275535" y="4082"/>
                    </a:lnTo>
                    <a:lnTo>
                      <a:pt x="1228297" y="0"/>
                    </a:lnTo>
                    <a:close/>
                  </a:path>
                  <a:path w="2421254" h="562609">
                    <a:moveTo>
                      <a:pt x="1457484" y="379726"/>
                    </a:moveTo>
                    <a:lnTo>
                      <a:pt x="1383329" y="379726"/>
                    </a:lnTo>
                    <a:lnTo>
                      <a:pt x="1368780" y="418780"/>
                    </a:lnTo>
                    <a:lnTo>
                      <a:pt x="1345815" y="451472"/>
                    </a:lnTo>
                    <a:lnTo>
                      <a:pt x="1314471" y="476472"/>
                    </a:lnTo>
                    <a:lnTo>
                      <a:pt x="1274787" y="492447"/>
                    </a:lnTo>
                    <a:lnTo>
                      <a:pt x="1226800" y="498068"/>
                    </a:lnTo>
                    <a:lnTo>
                      <a:pt x="1395252" y="498068"/>
                    </a:lnTo>
                    <a:lnTo>
                      <a:pt x="1420946" y="468364"/>
                    </a:lnTo>
                    <a:lnTo>
                      <a:pt x="1443080" y="427583"/>
                    </a:lnTo>
                    <a:lnTo>
                      <a:pt x="1457484" y="379726"/>
                    </a:lnTo>
                    <a:close/>
                  </a:path>
                  <a:path w="2421254" h="562609">
                    <a:moveTo>
                      <a:pt x="1392710" y="64416"/>
                    </a:moveTo>
                    <a:lnTo>
                      <a:pt x="1224549" y="64416"/>
                    </a:lnTo>
                    <a:lnTo>
                      <a:pt x="1272316" y="70181"/>
                    </a:lnTo>
                    <a:lnTo>
                      <a:pt x="1312065" y="86443"/>
                    </a:lnTo>
                    <a:lnTo>
                      <a:pt x="1343510" y="111657"/>
                    </a:lnTo>
                    <a:lnTo>
                      <a:pt x="1366362" y="144274"/>
                    </a:lnTo>
                    <a:lnTo>
                      <a:pt x="1380334" y="182748"/>
                    </a:lnTo>
                    <a:lnTo>
                      <a:pt x="1454489" y="182748"/>
                    </a:lnTo>
                    <a:lnTo>
                      <a:pt x="1440315" y="136108"/>
                    </a:lnTo>
                    <a:lnTo>
                      <a:pt x="1418812" y="95754"/>
                    </a:lnTo>
                    <a:lnTo>
                      <a:pt x="1392710" y="64416"/>
                    </a:lnTo>
                    <a:close/>
                  </a:path>
                  <a:path w="2421254" h="562609">
                    <a:moveTo>
                      <a:pt x="1899376" y="9737"/>
                    </a:moveTo>
                    <a:lnTo>
                      <a:pt x="1530885" y="9737"/>
                    </a:lnTo>
                    <a:lnTo>
                      <a:pt x="1530885" y="552737"/>
                    </a:lnTo>
                    <a:lnTo>
                      <a:pt x="1899376" y="552737"/>
                    </a:lnTo>
                    <a:lnTo>
                      <a:pt x="1899376" y="486833"/>
                    </a:lnTo>
                    <a:lnTo>
                      <a:pt x="1607270" y="486833"/>
                    </a:lnTo>
                    <a:lnTo>
                      <a:pt x="1607270" y="306325"/>
                    </a:lnTo>
                    <a:lnTo>
                      <a:pt x="1882152" y="306325"/>
                    </a:lnTo>
                    <a:lnTo>
                      <a:pt x="1882152" y="240421"/>
                    </a:lnTo>
                    <a:lnTo>
                      <a:pt x="1607270" y="240421"/>
                    </a:lnTo>
                    <a:lnTo>
                      <a:pt x="1607270" y="75641"/>
                    </a:lnTo>
                    <a:lnTo>
                      <a:pt x="1899376" y="75641"/>
                    </a:lnTo>
                    <a:lnTo>
                      <a:pt x="1899376" y="9737"/>
                    </a:lnTo>
                    <a:close/>
                  </a:path>
                  <a:path w="2421254" h="562609">
                    <a:moveTo>
                      <a:pt x="2058900" y="9737"/>
                    </a:moveTo>
                    <a:lnTo>
                      <a:pt x="1982505" y="9737"/>
                    </a:lnTo>
                    <a:lnTo>
                      <a:pt x="1982505" y="552737"/>
                    </a:lnTo>
                    <a:lnTo>
                      <a:pt x="2058900" y="552737"/>
                    </a:lnTo>
                    <a:lnTo>
                      <a:pt x="2058900" y="306325"/>
                    </a:lnTo>
                    <a:lnTo>
                      <a:pt x="2420659" y="306325"/>
                    </a:lnTo>
                    <a:lnTo>
                      <a:pt x="2420659" y="240421"/>
                    </a:lnTo>
                    <a:lnTo>
                      <a:pt x="2058900" y="240421"/>
                    </a:lnTo>
                    <a:lnTo>
                      <a:pt x="2058900" y="9737"/>
                    </a:lnTo>
                    <a:close/>
                  </a:path>
                  <a:path w="2421254" h="562609">
                    <a:moveTo>
                      <a:pt x="2420659" y="306325"/>
                    </a:moveTo>
                    <a:lnTo>
                      <a:pt x="2344263" y="306325"/>
                    </a:lnTo>
                    <a:lnTo>
                      <a:pt x="2344263" y="552737"/>
                    </a:lnTo>
                    <a:lnTo>
                      <a:pt x="2420659" y="552737"/>
                    </a:lnTo>
                    <a:lnTo>
                      <a:pt x="2420659" y="306325"/>
                    </a:lnTo>
                    <a:close/>
                  </a:path>
                  <a:path w="2421254" h="562609">
                    <a:moveTo>
                      <a:pt x="2420659" y="9737"/>
                    </a:moveTo>
                    <a:lnTo>
                      <a:pt x="2344263" y="9737"/>
                    </a:lnTo>
                    <a:lnTo>
                      <a:pt x="2344263" y="240421"/>
                    </a:lnTo>
                    <a:lnTo>
                      <a:pt x="2420659" y="240421"/>
                    </a:lnTo>
                    <a:lnTo>
                      <a:pt x="2420659" y="9737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 defTabSz="554492"/>
                <a:endParaRPr sz="1092" kern="0">
                  <a:solidFill>
                    <a:sysClr val="windowText" lastClr="000000"/>
                  </a:solidFill>
                </a:endParaRPr>
              </a:p>
            </p:txBody>
          </p:sp>
          <p:pic>
            <p:nvPicPr>
              <p:cNvPr id="9" name="object 9"/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688034" y="5881858"/>
                <a:ext cx="74182" cy="74188"/>
              </a:xfrm>
              <a:prstGeom prst="rect">
                <a:avLst/>
              </a:prstGeom>
            </p:spPr>
          </p:pic>
          <p:pic>
            <p:nvPicPr>
              <p:cNvPr id="4" name="object 10"/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688033" y="6368131"/>
                <a:ext cx="74182" cy="74188"/>
              </a:xfrm>
              <a:prstGeom prst="rect">
                <a:avLst/>
              </a:prstGeom>
            </p:spPr>
          </p:pic>
          <p:pic>
            <p:nvPicPr>
              <p:cNvPr id="11" name="object 11"/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444894" y="6124997"/>
                <a:ext cx="74188" cy="74182"/>
              </a:xfrm>
              <a:prstGeom prst="rect">
                <a:avLst/>
              </a:prstGeom>
            </p:spPr>
          </p:pic>
          <p:pic>
            <p:nvPicPr>
              <p:cNvPr id="5" name="object 12"/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931167" y="6124998"/>
                <a:ext cx="74188" cy="74182"/>
              </a:xfrm>
              <a:prstGeom prst="rect">
                <a:avLst/>
              </a:prstGeom>
            </p:spPr>
          </p:pic>
          <p:pic>
            <p:nvPicPr>
              <p:cNvPr id="13" name="object 13"/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697308" y="5993870"/>
                <a:ext cx="55634" cy="55634"/>
              </a:xfrm>
              <a:prstGeom prst="rect">
                <a:avLst/>
              </a:prstGeom>
            </p:spPr>
          </p:pic>
          <p:pic>
            <p:nvPicPr>
              <p:cNvPr id="14" name="object 14"/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697306" y="6274673"/>
                <a:ext cx="55634" cy="55634"/>
              </a:xfrm>
              <a:prstGeom prst="rect">
                <a:avLst/>
              </a:prstGeom>
            </p:spPr>
          </p:pic>
          <p:pic>
            <p:nvPicPr>
              <p:cNvPr id="15" name="object 15"/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556906" y="6134270"/>
                <a:ext cx="55634" cy="55634"/>
              </a:xfrm>
              <a:prstGeom prst="rect">
                <a:avLst/>
              </a:prstGeom>
            </p:spPr>
          </p:pic>
          <p:pic>
            <p:nvPicPr>
              <p:cNvPr id="16" name="object 16"/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837708" y="6134273"/>
                <a:ext cx="55634" cy="55634"/>
              </a:xfrm>
              <a:prstGeom prst="rect">
                <a:avLst/>
              </a:prstGeom>
            </p:spPr>
          </p:pic>
          <p:grpSp>
            <p:nvGrpSpPr>
              <p:cNvPr id="17" name="object 17"/>
              <p:cNvGrpSpPr/>
              <p:nvPr/>
            </p:nvGrpSpPr>
            <p:grpSpPr>
              <a:xfrm>
                <a:off x="477746" y="6176265"/>
                <a:ext cx="494808" cy="233349"/>
                <a:chOff x="787133" y="10185118"/>
                <a:chExt cx="815975" cy="384810"/>
              </a:xfrm>
            </p:grpSpPr>
            <p:pic>
              <p:nvPicPr>
                <p:cNvPr id="18" name="object 18"/>
                <p:cNvPicPr/>
                <p:nvPr/>
              </p:nvPicPr>
              <p:blipFill>
                <a:blip r:embed="rId9" cstate="print"/>
                <a:stretch>
                  <a:fillRect/>
                </a:stretch>
              </p:blipFill>
              <p:spPr>
                <a:xfrm>
                  <a:off x="1334840" y="10448257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19" name="object 19"/>
                <p:cNvPicPr/>
                <p:nvPr/>
              </p:nvPicPr>
              <p:blipFill>
                <a:blip r:embed="rId10" cstate="print"/>
                <a:stretch>
                  <a:fillRect/>
                </a:stretch>
              </p:blipFill>
              <p:spPr>
                <a:xfrm>
                  <a:off x="1481599" y="10301501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0" name="object 20"/>
                <p:cNvPicPr/>
                <p:nvPr/>
              </p:nvPicPr>
              <p:blipFill>
                <a:blip r:embed="rId11" cstate="print"/>
                <a:stretch>
                  <a:fillRect/>
                </a:stretch>
              </p:blipFill>
              <p:spPr>
                <a:xfrm>
                  <a:off x="787133" y="10301502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1" name="object 21"/>
                <p:cNvPicPr/>
                <p:nvPr/>
              </p:nvPicPr>
              <p:blipFill>
                <a:blip r:embed="rId12" cstate="print"/>
                <a:stretch>
                  <a:fillRect/>
                </a:stretch>
              </p:blipFill>
              <p:spPr>
                <a:xfrm>
                  <a:off x="933890" y="10448262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2" name="object 22"/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1312920" y="10279582"/>
                  <a:ext cx="91751" cy="91751"/>
                </a:xfrm>
                <a:prstGeom prst="rect">
                  <a:avLst/>
                </a:prstGeom>
              </p:spPr>
            </p:pic>
            <p:pic>
              <p:nvPicPr>
                <p:cNvPr id="23" name="object 23"/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985485" y="10279583"/>
                  <a:ext cx="91751" cy="91751"/>
                </a:xfrm>
                <a:prstGeom prst="rect">
                  <a:avLst/>
                </a:prstGeom>
              </p:spPr>
            </p:pic>
            <p:sp>
              <p:nvSpPr>
                <p:cNvPr id="24" name="object 24"/>
                <p:cNvSpPr/>
                <p:nvPr/>
              </p:nvSpPr>
              <p:spPr>
                <a:xfrm>
                  <a:off x="1086154" y="10185126"/>
                  <a:ext cx="218440" cy="990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8440" h="99059">
                      <a:moveTo>
                        <a:pt x="50088" y="21932"/>
                      </a:moveTo>
                      <a:lnTo>
                        <a:pt x="46901" y="12433"/>
                      </a:lnTo>
                      <a:lnTo>
                        <a:pt x="40271" y="4914"/>
                      </a:lnTo>
                      <a:lnTo>
                        <a:pt x="31572" y="673"/>
                      </a:lnTo>
                      <a:lnTo>
                        <a:pt x="21920" y="0"/>
                      </a:lnTo>
                      <a:lnTo>
                        <a:pt x="12433" y="3187"/>
                      </a:lnTo>
                      <a:lnTo>
                        <a:pt x="4914" y="9829"/>
                      </a:lnTo>
                      <a:lnTo>
                        <a:pt x="673" y="18516"/>
                      </a:lnTo>
                      <a:lnTo>
                        <a:pt x="0" y="28168"/>
                      </a:lnTo>
                      <a:lnTo>
                        <a:pt x="3187" y="37668"/>
                      </a:lnTo>
                      <a:lnTo>
                        <a:pt x="9817" y="45173"/>
                      </a:lnTo>
                      <a:lnTo>
                        <a:pt x="18516" y="49415"/>
                      </a:lnTo>
                      <a:lnTo>
                        <a:pt x="28168" y="50088"/>
                      </a:lnTo>
                      <a:lnTo>
                        <a:pt x="37668" y="46901"/>
                      </a:lnTo>
                      <a:lnTo>
                        <a:pt x="45173" y="40271"/>
                      </a:lnTo>
                      <a:lnTo>
                        <a:pt x="49415" y="31572"/>
                      </a:lnTo>
                      <a:lnTo>
                        <a:pt x="50088" y="21932"/>
                      </a:lnTo>
                      <a:close/>
                    </a:path>
                    <a:path w="218440" h="99059">
                      <a:moveTo>
                        <a:pt x="134150" y="73469"/>
                      </a:moveTo>
                      <a:lnTo>
                        <a:pt x="132168" y="63652"/>
                      </a:lnTo>
                      <a:lnTo>
                        <a:pt x="126758" y="55626"/>
                      </a:lnTo>
                      <a:lnTo>
                        <a:pt x="118745" y="50215"/>
                      </a:lnTo>
                      <a:lnTo>
                        <a:pt x="108915" y="48234"/>
                      </a:lnTo>
                      <a:lnTo>
                        <a:pt x="99098" y="50215"/>
                      </a:lnTo>
                      <a:lnTo>
                        <a:pt x="91071" y="55626"/>
                      </a:lnTo>
                      <a:lnTo>
                        <a:pt x="85674" y="63652"/>
                      </a:lnTo>
                      <a:lnTo>
                        <a:pt x="83680" y="73469"/>
                      </a:lnTo>
                      <a:lnTo>
                        <a:pt x="85674" y="83286"/>
                      </a:lnTo>
                      <a:lnTo>
                        <a:pt x="91071" y="91313"/>
                      </a:lnTo>
                      <a:lnTo>
                        <a:pt x="99098" y="96723"/>
                      </a:lnTo>
                      <a:lnTo>
                        <a:pt x="108915" y="98704"/>
                      </a:lnTo>
                      <a:lnTo>
                        <a:pt x="118745" y="96723"/>
                      </a:lnTo>
                      <a:lnTo>
                        <a:pt x="126758" y="91313"/>
                      </a:lnTo>
                      <a:lnTo>
                        <a:pt x="132168" y="83286"/>
                      </a:lnTo>
                      <a:lnTo>
                        <a:pt x="134150" y="73469"/>
                      </a:lnTo>
                      <a:close/>
                    </a:path>
                    <a:path w="218440" h="99059">
                      <a:moveTo>
                        <a:pt x="217830" y="28155"/>
                      </a:moveTo>
                      <a:lnTo>
                        <a:pt x="217157" y="18516"/>
                      </a:lnTo>
                      <a:lnTo>
                        <a:pt x="212915" y="9817"/>
                      </a:lnTo>
                      <a:lnTo>
                        <a:pt x="205409" y="3187"/>
                      </a:lnTo>
                      <a:lnTo>
                        <a:pt x="195910" y="0"/>
                      </a:lnTo>
                      <a:lnTo>
                        <a:pt x="186258" y="673"/>
                      </a:lnTo>
                      <a:lnTo>
                        <a:pt x="177558" y="4914"/>
                      </a:lnTo>
                      <a:lnTo>
                        <a:pt x="170942" y="12420"/>
                      </a:lnTo>
                      <a:lnTo>
                        <a:pt x="167754" y="21920"/>
                      </a:lnTo>
                      <a:lnTo>
                        <a:pt x="168427" y="31572"/>
                      </a:lnTo>
                      <a:lnTo>
                        <a:pt x="172669" y="40271"/>
                      </a:lnTo>
                      <a:lnTo>
                        <a:pt x="180174" y="46901"/>
                      </a:lnTo>
                      <a:lnTo>
                        <a:pt x="189674" y="50088"/>
                      </a:lnTo>
                      <a:lnTo>
                        <a:pt x="199313" y="49415"/>
                      </a:lnTo>
                      <a:lnTo>
                        <a:pt x="208013" y="45173"/>
                      </a:lnTo>
                      <a:lnTo>
                        <a:pt x="214642" y="37655"/>
                      </a:lnTo>
                      <a:lnTo>
                        <a:pt x="217830" y="2815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defTabSz="554492"/>
                  <a:endParaRPr sz="1092" kern="0">
                    <a:solidFill>
                      <a:sysClr val="windowText" lastClr="000000"/>
                    </a:solidFill>
                  </a:endParaRPr>
                </a:p>
              </p:txBody>
            </p:sp>
          </p:grpSp>
          <p:grpSp>
            <p:nvGrpSpPr>
              <p:cNvPr id="6" name="object 25"/>
              <p:cNvGrpSpPr/>
              <p:nvPr/>
            </p:nvGrpSpPr>
            <p:grpSpPr>
              <a:xfrm>
                <a:off x="477744" y="5914708"/>
                <a:ext cx="494808" cy="233349"/>
                <a:chOff x="787129" y="9753791"/>
                <a:chExt cx="815975" cy="384810"/>
              </a:xfrm>
            </p:grpSpPr>
            <p:pic>
              <p:nvPicPr>
                <p:cNvPr id="26" name="object 26"/>
                <p:cNvPicPr/>
                <p:nvPr/>
              </p:nvPicPr>
              <p:blipFill>
                <a:blip r:embed="rId11" cstate="print"/>
                <a:stretch>
                  <a:fillRect/>
                </a:stretch>
              </p:blipFill>
              <p:spPr>
                <a:xfrm>
                  <a:off x="933889" y="9753796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7" name="object 27"/>
                <p:cNvPicPr/>
                <p:nvPr/>
              </p:nvPicPr>
              <p:blipFill>
                <a:blip r:embed="rId12" cstate="print"/>
                <a:stretch>
                  <a:fillRect/>
                </a:stretch>
              </p:blipFill>
              <p:spPr>
                <a:xfrm>
                  <a:off x="787129" y="9900552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8" name="object 28"/>
                <p:cNvPicPr/>
                <p:nvPr/>
              </p:nvPicPr>
              <p:blipFill>
                <a:blip r:embed="rId9" cstate="print"/>
                <a:stretch>
                  <a:fillRect/>
                </a:stretch>
              </p:blipFill>
              <p:spPr>
                <a:xfrm>
                  <a:off x="1481595" y="9900551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9" name="object 29"/>
                <p:cNvPicPr/>
                <p:nvPr/>
              </p:nvPicPr>
              <p:blipFill>
                <a:blip r:embed="rId10" cstate="print"/>
                <a:stretch>
                  <a:fillRect/>
                </a:stretch>
              </p:blipFill>
              <p:spPr>
                <a:xfrm>
                  <a:off x="1334838" y="9753791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30" name="object 30"/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985484" y="9952147"/>
                  <a:ext cx="91751" cy="91751"/>
                </a:xfrm>
                <a:prstGeom prst="rect">
                  <a:avLst/>
                </a:prstGeom>
              </p:spPr>
            </p:pic>
            <p:pic>
              <p:nvPicPr>
                <p:cNvPr id="31" name="object 31"/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1312920" y="9952146"/>
                  <a:ext cx="91751" cy="91751"/>
                </a:xfrm>
                <a:prstGeom prst="rect">
                  <a:avLst/>
                </a:prstGeom>
              </p:spPr>
            </p:pic>
            <p:sp>
              <p:nvSpPr>
                <p:cNvPr id="32" name="object 32"/>
                <p:cNvSpPr/>
                <p:nvPr/>
              </p:nvSpPr>
              <p:spPr>
                <a:xfrm>
                  <a:off x="1086154" y="10039660"/>
                  <a:ext cx="218440" cy="990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8440" h="99059">
                      <a:moveTo>
                        <a:pt x="50088" y="76784"/>
                      </a:moveTo>
                      <a:lnTo>
                        <a:pt x="49415" y="67132"/>
                      </a:lnTo>
                      <a:lnTo>
                        <a:pt x="45173" y="58445"/>
                      </a:lnTo>
                      <a:lnTo>
                        <a:pt x="37655" y="51816"/>
                      </a:lnTo>
                      <a:lnTo>
                        <a:pt x="28168" y="48615"/>
                      </a:lnTo>
                      <a:lnTo>
                        <a:pt x="18516" y="49288"/>
                      </a:lnTo>
                      <a:lnTo>
                        <a:pt x="9817" y="53530"/>
                      </a:lnTo>
                      <a:lnTo>
                        <a:pt x="3187" y="61048"/>
                      </a:lnTo>
                      <a:lnTo>
                        <a:pt x="0" y="70548"/>
                      </a:lnTo>
                      <a:lnTo>
                        <a:pt x="673" y="80187"/>
                      </a:lnTo>
                      <a:lnTo>
                        <a:pt x="4914" y="88887"/>
                      </a:lnTo>
                      <a:lnTo>
                        <a:pt x="12420" y="95516"/>
                      </a:lnTo>
                      <a:lnTo>
                        <a:pt x="21920" y="98704"/>
                      </a:lnTo>
                      <a:lnTo>
                        <a:pt x="31572" y="98031"/>
                      </a:lnTo>
                      <a:lnTo>
                        <a:pt x="40271" y="93789"/>
                      </a:lnTo>
                      <a:lnTo>
                        <a:pt x="46901" y="86283"/>
                      </a:lnTo>
                      <a:lnTo>
                        <a:pt x="50088" y="76784"/>
                      </a:lnTo>
                      <a:close/>
                    </a:path>
                    <a:path w="218440" h="99059">
                      <a:moveTo>
                        <a:pt x="134150" y="25234"/>
                      </a:moveTo>
                      <a:lnTo>
                        <a:pt x="132168" y="15417"/>
                      </a:lnTo>
                      <a:lnTo>
                        <a:pt x="126758" y="7391"/>
                      </a:lnTo>
                      <a:lnTo>
                        <a:pt x="118732" y="1981"/>
                      </a:lnTo>
                      <a:lnTo>
                        <a:pt x="108915" y="0"/>
                      </a:lnTo>
                      <a:lnTo>
                        <a:pt x="99098" y="1981"/>
                      </a:lnTo>
                      <a:lnTo>
                        <a:pt x="91071" y="7391"/>
                      </a:lnTo>
                      <a:lnTo>
                        <a:pt x="85674" y="15417"/>
                      </a:lnTo>
                      <a:lnTo>
                        <a:pt x="83693" y="25234"/>
                      </a:lnTo>
                      <a:lnTo>
                        <a:pt x="85674" y="35064"/>
                      </a:lnTo>
                      <a:lnTo>
                        <a:pt x="91071" y="43078"/>
                      </a:lnTo>
                      <a:lnTo>
                        <a:pt x="99098" y="48488"/>
                      </a:lnTo>
                      <a:lnTo>
                        <a:pt x="108915" y="50469"/>
                      </a:lnTo>
                      <a:lnTo>
                        <a:pt x="118732" y="48488"/>
                      </a:lnTo>
                      <a:lnTo>
                        <a:pt x="126758" y="43078"/>
                      </a:lnTo>
                      <a:lnTo>
                        <a:pt x="132168" y="35064"/>
                      </a:lnTo>
                      <a:lnTo>
                        <a:pt x="134150" y="25234"/>
                      </a:lnTo>
                      <a:close/>
                    </a:path>
                    <a:path w="218440" h="99059">
                      <a:moveTo>
                        <a:pt x="217830" y="70535"/>
                      </a:moveTo>
                      <a:lnTo>
                        <a:pt x="214642" y="61048"/>
                      </a:lnTo>
                      <a:lnTo>
                        <a:pt x="208013" y="53530"/>
                      </a:lnTo>
                      <a:lnTo>
                        <a:pt x="199326" y="49288"/>
                      </a:lnTo>
                      <a:lnTo>
                        <a:pt x="189674" y="48615"/>
                      </a:lnTo>
                      <a:lnTo>
                        <a:pt x="180174" y="51803"/>
                      </a:lnTo>
                      <a:lnTo>
                        <a:pt x="172656" y="58432"/>
                      </a:lnTo>
                      <a:lnTo>
                        <a:pt x="168414" y="67132"/>
                      </a:lnTo>
                      <a:lnTo>
                        <a:pt x="167741" y="76771"/>
                      </a:lnTo>
                      <a:lnTo>
                        <a:pt x="170942" y="86283"/>
                      </a:lnTo>
                      <a:lnTo>
                        <a:pt x="177571" y="93789"/>
                      </a:lnTo>
                      <a:lnTo>
                        <a:pt x="186258" y="98031"/>
                      </a:lnTo>
                      <a:lnTo>
                        <a:pt x="195910" y="98704"/>
                      </a:lnTo>
                      <a:lnTo>
                        <a:pt x="205409" y="95516"/>
                      </a:lnTo>
                      <a:lnTo>
                        <a:pt x="212915" y="88887"/>
                      </a:lnTo>
                      <a:lnTo>
                        <a:pt x="217157" y="80187"/>
                      </a:lnTo>
                      <a:lnTo>
                        <a:pt x="217830" y="705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defTabSz="554492"/>
                  <a:endParaRPr sz="1092" kern="0">
                    <a:solidFill>
                      <a:sysClr val="windowText" lastClr="000000"/>
                    </a:solidFill>
                  </a:endParaRPr>
                </a:p>
              </p:txBody>
            </p:sp>
          </p:grpSp>
        </p:grpSp>
        <p:sp>
          <p:nvSpPr>
            <p:cNvPr id="36" name="object 5"/>
            <p:cNvSpPr txBox="1"/>
            <p:nvPr userDrawn="1"/>
          </p:nvSpPr>
          <p:spPr>
            <a:xfrm>
              <a:off x="2912742" y="5954916"/>
              <a:ext cx="1338661" cy="438363"/>
            </a:xfrm>
            <a:prstGeom prst="rect">
              <a:avLst/>
            </a:prstGeom>
          </p:spPr>
          <p:txBody>
            <a:bodyPr vert="horz" wrap="square" lIns="0" tIns="27724" rIns="0" bIns="0" rtlCol="0">
              <a:spAutoFit/>
            </a:bodyPr>
            <a:lstStyle/>
            <a:p>
              <a:pPr marL="7701" marR="3081" defTabSz="554492">
                <a:lnSpc>
                  <a:spcPts val="1601"/>
                </a:lnSpc>
                <a:spcBef>
                  <a:spcPts val="218"/>
                </a:spcBef>
              </a:pPr>
              <a:r>
                <a:rPr lang="en-GB" sz="1450" kern="0" dirty="0">
                  <a:solidFill>
                    <a:srgbClr val="DBFF51"/>
                  </a:solidFill>
                  <a:latin typeface="UKCEH Suisse" panose="020B0504000000000000" pitchFamily="34" charset="-78"/>
                  <a:cs typeface="UKCEH Suisse" panose="020B0504000000000000" pitchFamily="34" charset="-78"/>
                </a:rPr>
                <a:t>Our planet. Decoded</a:t>
              </a:r>
              <a:r>
                <a:rPr sz="1450" kern="0" spc="-6" dirty="0">
                  <a:solidFill>
                    <a:srgbClr val="DBFF51"/>
                  </a:solidFill>
                  <a:latin typeface="UKCEH Suisse" panose="020B0504000000000000" pitchFamily="34" charset="-78"/>
                  <a:cs typeface="UKCEH Suisse" panose="020B0504000000000000" pitchFamily="34" charset="-78"/>
                </a:rPr>
                <a:t>.</a:t>
              </a:r>
              <a:endParaRPr sz="1450" kern="0" dirty="0">
                <a:solidFill>
                  <a:sysClr val="windowText" lastClr="000000"/>
                </a:solidFill>
                <a:latin typeface="UKCEH Suisse" panose="020B0504000000000000" pitchFamily="34" charset="-78"/>
                <a:cs typeface="UKCEH Suisse" panose="020B0504000000000000" pitchFamily="34" charset="-78"/>
              </a:endParaRPr>
            </a:p>
          </p:txBody>
        </p:sp>
      </p:grpSp>
      <p:sp>
        <p:nvSpPr>
          <p:cNvPr id="38" name="Content Placeholder 37">
            <a:extLst>
              <a:ext uri="{FF2B5EF4-FFF2-40B4-BE49-F238E27FC236}">
                <a16:creationId xmlns:a16="http://schemas.microsoft.com/office/drawing/2014/main" id="{4A4C3D98-3DC2-4C00-6BA1-FB8398880F6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1799" y="464721"/>
            <a:ext cx="11315511" cy="2297745"/>
          </a:xfrm>
        </p:spPr>
        <p:txBody>
          <a:bodyPr/>
          <a:lstStyle>
            <a:lvl1pPr>
              <a:lnSpc>
                <a:spcPct val="75000"/>
              </a:lnSpc>
              <a:spcBef>
                <a:spcPts val="1600"/>
              </a:spcBef>
              <a:spcAft>
                <a:spcPts val="0"/>
              </a:spcAft>
              <a:buFontTx/>
              <a:buNone/>
              <a:defRPr sz="5400" spc="-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76000"/>
              </a:lnSpc>
              <a:spcBef>
                <a:spcPts val="1600"/>
              </a:spcBef>
              <a:buFontTx/>
              <a:buNone/>
              <a:tabLst/>
              <a:defRPr sz="8000" spc="-300" baseline="0">
                <a:solidFill>
                  <a:schemeClr val="bg1"/>
                </a:solidFill>
                <a:latin typeface="+mn-lt"/>
              </a:defRPr>
            </a:lvl2pPr>
            <a:lvl3pPr>
              <a:buFontTx/>
              <a:buNone/>
              <a:defRPr>
                <a:solidFill>
                  <a:schemeClr val="bg1"/>
                </a:solidFill>
              </a:defRPr>
            </a:lvl3pPr>
            <a:lvl4pPr>
              <a:buFontTx/>
              <a:buNone/>
              <a:defRPr>
                <a:solidFill>
                  <a:schemeClr val="bg1"/>
                </a:solidFill>
              </a:defRPr>
            </a:lvl4pPr>
            <a:lvl5pPr>
              <a:buFontTx/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Title 1</a:t>
            </a:r>
          </a:p>
          <a:p>
            <a:pPr lvl="1"/>
            <a:r>
              <a:rPr lang="en-US" dirty="0"/>
              <a:t>Title 2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B7D5D87-19D6-AB68-11C2-7D8D19E1A9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98123" y="4805391"/>
            <a:ext cx="5321418" cy="716273"/>
          </a:xfrm>
        </p:spPr>
        <p:txBody>
          <a:bodyPr anchor="b"/>
          <a:lstStyle>
            <a:lvl1pPr>
              <a:lnSpc>
                <a:spcPct val="90000"/>
              </a:lnSpc>
              <a:spcAft>
                <a:spcPts val="0"/>
              </a:spcAft>
              <a:defRPr sz="2800" spc="-8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800" spc="-40" baseline="0"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Presentation subtitle goes here over two lines if required.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8257085F-D0E4-D339-8B75-A2DEB1453C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98123" y="5598316"/>
            <a:ext cx="3497262" cy="433616"/>
          </a:xfrm>
        </p:spPr>
        <p:txBody>
          <a:bodyPr anchor="t"/>
          <a:lstStyle>
            <a:lvl1pPr>
              <a:lnSpc>
                <a:spcPct val="100000"/>
              </a:lnSpc>
              <a:spcAft>
                <a:spcPts val="600"/>
              </a:spcAft>
              <a:defRPr sz="1800" spc="-40" baseline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buNone/>
              <a:defRPr sz="1200" cap="all" spc="30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object 31"/>
          <p:cNvSpPr/>
          <p:nvPr/>
        </p:nvSpPr>
        <p:spPr>
          <a:xfrm>
            <a:off x="444896" y="4086833"/>
            <a:ext cx="11302415" cy="0"/>
          </a:xfrm>
          <a:custGeom>
            <a:avLst/>
            <a:gdLst/>
            <a:ahLst/>
            <a:cxnLst/>
            <a:rect l="l" t="t" r="r" b="b"/>
            <a:pathLst>
              <a:path w="18638520">
                <a:moveTo>
                  <a:pt x="0" y="0"/>
                </a:moveTo>
                <a:lnTo>
                  <a:pt x="18638175" y="0"/>
                </a:lnTo>
              </a:path>
            </a:pathLst>
          </a:custGeom>
          <a:ln w="1047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pic>
        <p:nvPicPr>
          <p:cNvPr id="10" name="object 32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476645" y="4173903"/>
            <a:ext cx="50796" cy="50796"/>
          </a:xfrm>
          <a:prstGeom prst="rect">
            <a:avLst/>
          </a:prstGeom>
        </p:spPr>
      </p:pic>
      <p:pic>
        <p:nvPicPr>
          <p:cNvPr id="12" name="object 33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6070602" y="4173903"/>
            <a:ext cx="50796" cy="50796"/>
          </a:xfrm>
          <a:prstGeom prst="rect">
            <a:avLst/>
          </a:prstGeom>
        </p:spPr>
      </p:pic>
      <p:pic>
        <p:nvPicPr>
          <p:cNvPr id="25" name="object 34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11582015" y="4173903"/>
            <a:ext cx="50796" cy="50796"/>
          </a:xfrm>
          <a:prstGeom prst="rect">
            <a:avLst/>
          </a:prstGeom>
        </p:spPr>
      </p:pic>
      <p:sp>
        <p:nvSpPr>
          <p:cNvPr id="35" name="object 35"/>
          <p:cNvSpPr/>
          <p:nvPr/>
        </p:nvSpPr>
        <p:spPr>
          <a:xfrm>
            <a:off x="444896" y="6428729"/>
            <a:ext cx="11302415" cy="0"/>
          </a:xfrm>
          <a:custGeom>
            <a:avLst/>
            <a:gdLst/>
            <a:ahLst/>
            <a:cxnLst/>
            <a:rect l="l" t="t" r="r" b="b"/>
            <a:pathLst>
              <a:path w="18638520">
                <a:moveTo>
                  <a:pt x="0" y="0"/>
                </a:moveTo>
                <a:lnTo>
                  <a:pt x="18638175" y="0"/>
                </a:lnTo>
              </a:path>
            </a:pathLst>
          </a:custGeom>
          <a:ln w="1047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pic>
        <p:nvPicPr>
          <p:cNvPr id="27" name="object 36"/>
          <p:cNvPicPr/>
          <p:nvPr/>
        </p:nvPicPr>
        <p:blipFill>
          <a:blip r:embed="rId16" cstate="print"/>
          <a:stretch>
            <a:fillRect/>
          </a:stretch>
        </p:blipFill>
        <p:spPr>
          <a:xfrm>
            <a:off x="476645" y="6290864"/>
            <a:ext cx="50796" cy="50796"/>
          </a:xfrm>
          <a:prstGeom prst="rect">
            <a:avLst/>
          </a:prstGeom>
        </p:spPr>
      </p:pic>
      <p:pic>
        <p:nvPicPr>
          <p:cNvPr id="37" name="object 37"/>
          <p:cNvPicPr/>
          <p:nvPr/>
        </p:nvPicPr>
        <p:blipFill>
          <a:blip r:embed="rId16" cstate="print"/>
          <a:stretch>
            <a:fillRect/>
          </a:stretch>
        </p:blipFill>
        <p:spPr>
          <a:xfrm>
            <a:off x="6070602" y="6290864"/>
            <a:ext cx="50796" cy="50796"/>
          </a:xfrm>
          <a:prstGeom prst="rect">
            <a:avLst/>
          </a:prstGeom>
        </p:spPr>
      </p:pic>
      <p:pic>
        <p:nvPicPr>
          <p:cNvPr id="40" name="object 38"/>
          <p:cNvPicPr/>
          <p:nvPr/>
        </p:nvPicPr>
        <p:blipFill>
          <a:blip r:embed="rId17" cstate="print"/>
          <a:stretch>
            <a:fillRect/>
          </a:stretch>
        </p:blipFill>
        <p:spPr>
          <a:xfrm>
            <a:off x="11582015" y="6290864"/>
            <a:ext cx="50796" cy="5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173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Copy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996876B-8780-17E3-0308-C75C806CE87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sX0" fmla="*/ 4443128 w 12192000"/>
              <a:gd name="csY0" fmla="*/ 782150 h 6858000"/>
              <a:gd name="csX1" fmla="*/ 4332287 w 12192000"/>
              <a:gd name="csY1" fmla="*/ 892991 h 6858000"/>
              <a:gd name="csX2" fmla="*/ 4332287 w 12192000"/>
              <a:gd name="csY2" fmla="*/ 6450296 h 6858000"/>
              <a:gd name="csX3" fmla="*/ 4443128 w 12192000"/>
              <a:gd name="csY3" fmla="*/ 6561137 h 6858000"/>
              <a:gd name="csX4" fmla="*/ 11781121 w 12192000"/>
              <a:gd name="csY4" fmla="*/ 6561137 h 6858000"/>
              <a:gd name="csX5" fmla="*/ 11891962 w 12192000"/>
              <a:gd name="csY5" fmla="*/ 6450296 h 6858000"/>
              <a:gd name="csX6" fmla="*/ 11891962 w 12192000"/>
              <a:gd name="csY6" fmla="*/ 892991 h 6858000"/>
              <a:gd name="csX7" fmla="*/ 11781121 w 12192000"/>
              <a:gd name="csY7" fmla="*/ 782150 h 6858000"/>
              <a:gd name="csX8" fmla="*/ 0 w 12192000"/>
              <a:gd name="csY8" fmla="*/ 0 h 6858000"/>
              <a:gd name="csX9" fmla="*/ 12192000 w 12192000"/>
              <a:gd name="csY9" fmla="*/ 0 h 6858000"/>
              <a:gd name="csX10" fmla="*/ 12192000 w 12192000"/>
              <a:gd name="csY10" fmla="*/ 6858000 h 6858000"/>
              <a:gd name="csX11" fmla="*/ 0 w 12192000"/>
              <a:gd name="csY11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2192000" h="6858000">
                <a:moveTo>
                  <a:pt x="4443128" y="782150"/>
                </a:moveTo>
                <a:cubicBezTo>
                  <a:pt x="4381912" y="782150"/>
                  <a:pt x="4332287" y="831775"/>
                  <a:pt x="4332287" y="892991"/>
                </a:cubicBezTo>
                <a:lnTo>
                  <a:pt x="4332287" y="6450296"/>
                </a:lnTo>
                <a:cubicBezTo>
                  <a:pt x="4332287" y="6511512"/>
                  <a:pt x="4381912" y="6561137"/>
                  <a:pt x="4443128" y="6561137"/>
                </a:cubicBezTo>
                <a:lnTo>
                  <a:pt x="11781121" y="6561137"/>
                </a:lnTo>
                <a:cubicBezTo>
                  <a:pt x="11842337" y="6561137"/>
                  <a:pt x="11891962" y="6511512"/>
                  <a:pt x="11891962" y="6450296"/>
                </a:cubicBezTo>
                <a:lnTo>
                  <a:pt x="11891962" y="892991"/>
                </a:lnTo>
                <a:cubicBezTo>
                  <a:pt x="11891962" y="831775"/>
                  <a:pt x="11842337" y="782150"/>
                  <a:pt x="11781121" y="78215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60" y="1153525"/>
            <a:ext cx="3529166" cy="465103"/>
          </a:xfrm>
        </p:spPr>
        <p:txBody>
          <a:bodyPr/>
          <a:lstStyle>
            <a:lvl1pPr>
              <a:defRPr sz="32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3529166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2E8299F-10C0-3D54-F5EA-775E5DDC85E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679951" y="2095500"/>
            <a:ext cx="6724650" cy="36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F51DF53-7A57-7591-630A-332C29C31FCA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679950" y="1153525"/>
            <a:ext cx="6724650" cy="63204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2200" b="0">
                <a:solidFill>
                  <a:schemeClr val="tx1"/>
                </a:solidFill>
                <a:latin typeface="+mj-lt"/>
                <a:cs typeface="UKCEH Suisse Medium" panose="020B06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heading 22p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F945F9-0E47-5AD3-7D09-78C317E628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2095500"/>
            <a:ext cx="3529166" cy="36639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>
              <a:defRPr sz="1500"/>
            </a:lvl6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  <a:p>
            <a:pPr lvl="8"/>
            <a:endParaRPr lang="en-GB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4C0B12A-829E-DCC6-5EDF-96C3D6461A49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7BCD38FF-6A88-F0C3-7AAB-743F765988CE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2C91007F-1B66-BF9B-46C2-CE94DBF659A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B02CE5E4-780C-3A4B-D890-037155C3F47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9D2FCDEC-00EE-F122-23F8-280B11FA64CB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CB2F9D36-AF5A-BEA4-C007-6AAF3914BB4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EB151F6A-F227-4E6E-77D7-0BF2AAE543F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0" name="object 3">
            <a:extLst>
              <a:ext uri="{FF2B5EF4-FFF2-40B4-BE49-F238E27FC236}">
                <a16:creationId xmlns:a16="http://schemas.microsoft.com/office/drawing/2014/main" id="{7E7F73EB-0437-6B0A-FDE4-C39194656996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1" name="object 8">
            <a:extLst>
              <a:ext uri="{FF2B5EF4-FFF2-40B4-BE49-F238E27FC236}">
                <a16:creationId xmlns:a16="http://schemas.microsoft.com/office/drawing/2014/main" id="{6386E776-22C5-7B20-519A-18FEEEEAFD6C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2" name="object 9">
            <a:extLst>
              <a:ext uri="{FF2B5EF4-FFF2-40B4-BE49-F238E27FC236}">
                <a16:creationId xmlns:a16="http://schemas.microsoft.com/office/drawing/2014/main" id="{442C297F-BB52-0230-35F2-7933423C4B91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3042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rk Copy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494135D-DF0E-A057-A16F-01D0E6806DD0}"/>
              </a:ext>
            </a:extLst>
          </p:cNvPr>
          <p:cNvSpPr/>
          <p:nvPr userDrawn="1"/>
        </p:nvSpPr>
        <p:spPr>
          <a:xfrm>
            <a:off x="4332287" y="782150"/>
            <a:ext cx="7559675" cy="5778987"/>
          </a:xfrm>
          <a:prstGeom prst="roundRect">
            <a:avLst>
              <a:gd name="adj" fmla="val 1918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60" y="1153525"/>
            <a:ext cx="3529166" cy="465103"/>
          </a:xfrm>
        </p:spPr>
        <p:txBody>
          <a:bodyPr/>
          <a:lstStyle>
            <a:lvl1pPr>
              <a:defRPr sz="32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3529166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2E8299F-10C0-3D54-F5EA-775E5DDC85E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679951" y="2762250"/>
            <a:ext cx="6724650" cy="29972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bg1"/>
                </a:solidFill>
                <a:latin typeface="+mn-lt"/>
              </a:defRPr>
            </a:lvl2pPr>
            <a:lvl3pPr>
              <a:defRPr b="1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6"/>
            <a:r>
              <a:rPr lang="en-US" dirty="0"/>
              <a:t>Copy 22pt</a:t>
            </a:r>
          </a:p>
          <a:p>
            <a:pPr lvl="7"/>
            <a:r>
              <a:rPr lang="en-US" dirty="0"/>
              <a:t>Bullet 22pt</a:t>
            </a:r>
          </a:p>
          <a:p>
            <a:pPr lvl="8"/>
            <a:r>
              <a:rPr lang="en-US" dirty="0"/>
              <a:t>Subheading 24pt </a:t>
            </a:r>
          </a:p>
          <a:p>
            <a:pPr lvl="3"/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F51DF53-7A57-7591-630A-332C29C31FCA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679950" y="2087549"/>
            <a:ext cx="6724650" cy="632041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bg1"/>
                </a:solidFill>
                <a:latin typeface="+mn-lt"/>
              </a:defRPr>
            </a:lvl2pPr>
            <a:lvl3pPr>
              <a:defRPr sz="2200" b="0">
                <a:solidFill>
                  <a:schemeClr val="bg1"/>
                </a:solidFill>
                <a:latin typeface="+mn-lt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ubheading 22p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F945F9-0E47-5AD3-7D09-78C317E628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2095500"/>
            <a:ext cx="3529166" cy="36639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>
              <a:defRPr sz="1500"/>
            </a:lvl6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  <a:p>
            <a:pPr lvl="8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79731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Char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FA1225B4-9AFE-C765-9443-404DA18886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sX0" fmla="*/ 387755 w 12192000"/>
              <a:gd name="csY0" fmla="*/ 782151 h 6858000"/>
              <a:gd name="csX1" fmla="*/ 277813 w 12192000"/>
              <a:gd name="csY1" fmla="*/ 892093 h 6858000"/>
              <a:gd name="csX2" fmla="*/ 277813 w 12192000"/>
              <a:gd name="csY2" fmla="*/ 6451195 h 6858000"/>
              <a:gd name="csX3" fmla="*/ 387755 w 12192000"/>
              <a:gd name="csY3" fmla="*/ 6561137 h 6858000"/>
              <a:gd name="csX4" fmla="*/ 5899978 w 12192000"/>
              <a:gd name="csY4" fmla="*/ 6561137 h 6858000"/>
              <a:gd name="csX5" fmla="*/ 6009920 w 12192000"/>
              <a:gd name="csY5" fmla="*/ 6451195 h 6858000"/>
              <a:gd name="csX6" fmla="*/ 6009920 w 12192000"/>
              <a:gd name="csY6" fmla="*/ 892093 h 6858000"/>
              <a:gd name="csX7" fmla="*/ 5899978 w 12192000"/>
              <a:gd name="csY7" fmla="*/ 782151 h 6858000"/>
              <a:gd name="csX8" fmla="*/ 6299285 w 12192000"/>
              <a:gd name="csY8" fmla="*/ 782150 h 6858000"/>
              <a:gd name="csX9" fmla="*/ 6189920 w 12192000"/>
              <a:gd name="csY9" fmla="*/ 891515 h 6858000"/>
              <a:gd name="csX10" fmla="*/ 6189920 w 12192000"/>
              <a:gd name="csY10" fmla="*/ 6451772 h 6858000"/>
              <a:gd name="csX11" fmla="*/ 6299285 w 12192000"/>
              <a:gd name="csY11" fmla="*/ 6561137 h 6858000"/>
              <a:gd name="csX12" fmla="*/ 11782598 w 12192000"/>
              <a:gd name="csY12" fmla="*/ 6561137 h 6858000"/>
              <a:gd name="csX13" fmla="*/ 11891963 w 12192000"/>
              <a:gd name="csY13" fmla="*/ 6451772 h 6858000"/>
              <a:gd name="csX14" fmla="*/ 11891963 w 12192000"/>
              <a:gd name="csY14" fmla="*/ 891515 h 6858000"/>
              <a:gd name="csX15" fmla="*/ 11782598 w 12192000"/>
              <a:gd name="csY15" fmla="*/ 782150 h 6858000"/>
              <a:gd name="csX16" fmla="*/ 0 w 12192000"/>
              <a:gd name="csY16" fmla="*/ 0 h 6858000"/>
              <a:gd name="csX17" fmla="*/ 12192000 w 12192000"/>
              <a:gd name="csY17" fmla="*/ 0 h 6858000"/>
              <a:gd name="csX18" fmla="*/ 12192000 w 12192000"/>
              <a:gd name="csY18" fmla="*/ 6858000 h 6858000"/>
              <a:gd name="csX19" fmla="*/ 0 w 12192000"/>
              <a:gd name="csY19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12192000" h="6858000">
                <a:moveTo>
                  <a:pt x="387755" y="782151"/>
                </a:moveTo>
                <a:cubicBezTo>
                  <a:pt x="327036" y="782151"/>
                  <a:pt x="277813" y="831374"/>
                  <a:pt x="277813" y="892093"/>
                </a:cubicBezTo>
                <a:lnTo>
                  <a:pt x="277813" y="6451195"/>
                </a:lnTo>
                <a:cubicBezTo>
                  <a:pt x="277813" y="6511914"/>
                  <a:pt x="327036" y="6561137"/>
                  <a:pt x="387755" y="6561137"/>
                </a:cubicBezTo>
                <a:lnTo>
                  <a:pt x="5899978" y="6561137"/>
                </a:lnTo>
                <a:cubicBezTo>
                  <a:pt x="5960697" y="6561137"/>
                  <a:pt x="6009920" y="6511914"/>
                  <a:pt x="6009920" y="6451195"/>
                </a:cubicBezTo>
                <a:lnTo>
                  <a:pt x="6009920" y="892093"/>
                </a:lnTo>
                <a:cubicBezTo>
                  <a:pt x="6009920" y="831374"/>
                  <a:pt x="5960697" y="782151"/>
                  <a:pt x="5899978" y="782151"/>
                </a:cubicBezTo>
                <a:close/>
                <a:moveTo>
                  <a:pt x="6299285" y="782150"/>
                </a:moveTo>
                <a:cubicBezTo>
                  <a:pt x="6238884" y="782150"/>
                  <a:pt x="6189920" y="831114"/>
                  <a:pt x="6189920" y="891515"/>
                </a:cubicBezTo>
                <a:lnTo>
                  <a:pt x="6189920" y="6451772"/>
                </a:lnTo>
                <a:cubicBezTo>
                  <a:pt x="6189920" y="6512173"/>
                  <a:pt x="6238884" y="6561137"/>
                  <a:pt x="6299285" y="6561137"/>
                </a:cubicBezTo>
                <a:lnTo>
                  <a:pt x="11782598" y="6561137"/>
                </a:lnTo>
                <a:cubicBezTo>
                  <a:pt x="11842999" y="6561137"/>
                  <a:pt x="11891963" y="6512173"/>
                  <a:pt x="11891963" y="6451772"/>
                </a:cubicBezTo>
                <a:lnTo>
                  <a:pt x="11891963" y="891515"/>
                </a:lnTo>
                <a:cubicBezTo>
                  <a:pt x="11891963" y="831114"/>
                  <a:pt x="11842999" y="782150"/>
                  <a:pt x="11782598" y="78215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2E8299F-10C0-3D54-F5EA-775E5DDC85E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3866" y="2095500"/>
            <a:ext cx="5040000" cy="2998789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6"/>
            <a:r>
              <a:rPr lang="en-US" dirty="0"/>
              <a:t>Body Copy 22pt</a:t>
            </a:r>
          </a:p>
          <a:p>
            <a:pPr lvl="7"/>
            <a:r>
              <a:rPr lang="en-US" dirty="0"/>
              <a:t>Bullet 22pt</a:t>
            </a:r>
          </a:p>
          <a:p>
            <a:pPr lvl="8"/>
            <a:r>
              <a:rPr lang="en-US" dirty="0"/>
              <a:t>Subheading 24pt 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9FDD02B-0F00-0863-3AD3-4F2B71200ED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520941" y="2095501"/>
            <a:ext cx="5040000" cy="2998788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6"/>
            <a:r>
              <a:rPr lang="en-US" dirty="0"/>
              <a:t>Body Copy 22pt</a:t>
            </a:r>
          </a:p>
          <a:p>
            <a:pPr lvl="7"/>
            <a:r>
              <a:rPr lang="en-US" dirty="0"/>
              <a:t>Bullet 22pt</a:t>
            </a:r>
          </a:p>
          <a:p>
            <a:pPr lvl="8"/>
            <a:r>
              <a:rPr lang="en-US" dirty="0"/>
              <a:t>Subheading 24pt 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0F13B41-F28A-250E-CF8F-CD5602034DC8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23866" y="1071659"/>
            <a:ext cx="5040000" cy="63204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2200" b="0">
                <a:solidFill>
                  <a:schemeClr val="tx1"/>
                </a:solidFill>
                <a:latin typeface="+mj-lt"/>
                <a:cs typeface="UKCEH Suisse Medium" panose="020B06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heading 22pt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4A0BE7B-A022-929F-7620-760547156F84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520941" y="1096964"/>
            <a:ext cx="5040000" cy="63204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2200" b="0">
                <a:solidFill>
                  <a:schemeClr val="tx1"/>
                </a:solidFill>
                <a:latin typeface="+mj-lt"/>
                <a:cs typeface="UKCEH Suisse Medium" panose="020B06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heading 22pt </a:t>
            </a:r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B3B549B9-2805-2306-462A-8C93C2786CA6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F5D3FF9-B3BC-46B0-C98B-8A1ADD142231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1A88413-2D3D-4E73-2702-1DBAA70E1C4A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5CDB6DB0-D403-F80C-CFE3-E0102DA67D9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2BDA4C64-D991-F5F6-55F2-AFFC079C661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88984EE-F5FC-55FC-E678-6D0C4307C8EC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9CA07727-D72F-1CC7-1A32-B7FA43CC764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113ED8ED-9ABC-3146-AFF5-3141B3C3ECD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4" name="object 8">
            <a:extLst>
              <a:ext uri="{FF2B5EF4-FFF2-40B4-BE49-F238E27FC236}">
                <a16:creationId xmlns:a16="http://schemas.microsoft.com/office/drawing/2014/main" id="{2B4878A3-6CAE-64F7-6260-3E0A8145EDFC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5" name="object 9">
            <a:extLst>
              <a:ext uri="{FF2B5EF4-FFF2-40B4-BE49-F238E27FC236}">
                <a16:creationId xmlns:a16="http://schemas.microsoft.com/office/drawing/2014/main" id="{F5896C94-88BE-5C56-9599-8AE6E2A924F4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8804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Char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494135D-DF0E-A057-A16F-01D0E6806DD0}"/>
              </a:ext>
            </a:extLst>
          </p:cNvPr>
          <p:cNvSpPr/>
          <p:nvPr userDrawn="1"/>
        </p:nvSpPr>
        <p:spPr>
          <a:xfrm>
            <a:off x="277813" y="782151"/>
            <a:ext cx="5732107" cy="5778986"/>
          </a:xfrm>
          <a:prstGeom prst="roundRect">
            <a:avLst>
              <a:gd name="adj" fmla="val 1918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2E8299F-10C0-3D54-F5EA-775E5DDC85E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3866" y="2095500"/>
            <a:ext cx="5040000" cy="299878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bg1"/>
                </a:solidFill>
                <a:latin typeface="+mn-lt"/>
              </a:defRPr>
            </a:lvl2pPr>
            <a:lvl3pPr>
              <a:defRPr b="1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F51DF53-7A57-7591-630A-332C29C31FCA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3866" y="1071659"/>
            <a:ext cx="5040000" cy="66674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bg1"/>
                </a:solidFill>
                <a:latin typeface="+mn-lt"/>
              </a:defRPr>
            </a:lvl2pPr>
            <a:lvl3pPr>
              <a:defRPr sz="2200" b="0">
                <a:solidFill>
                  <a:schemeClr val="bg1"/>
                </a:solidFill>
                <a:latin typeface="+mn-lt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ubheading 17pt 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6DF94E8-6763-1C50-9DBB-8A61090719F6}"/>
              </a:ext>
            </a:extLst>
          </p:cNvPr>
          <p:cNvSpPr/>
          <p:nvPr userDrawn="1"/>
        </p:nvSpPr>
        <p:spPr>
          <a:xfrm>
            <a:off x="6189920" y="782150"/>
            <a:ext cx="5702043" cy="5778987"/>
          </a:xfrm>
          <a:prstGeom prst="roundRect">
            <a:avLst>
              <a:gd name="adj" fmla="val 1918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9FDD02B-0F00-0863-3AD3-4F2B71200ED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520941" y="2095501"/>
            <a:ext cx="5040000" cy="29987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bg1"/>
                </a:solidFill>
                <a:latin typeface="+mn-lt"/>
              </a:defRPr>
            </a:lvl2pPr>
            <a:lvl3pPr>
              <a:defRPr b="1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6"/>
            <a:r>
              <a:rPr lang="en-US" dirty="0"/>
              <a:t>Body Copy 22pt</a:t>
            </a:r>
          </a:p>
          <a:p>
            <a:pPr lvl="7"/>
            <a:r>
              <a:rPr lang="en-US" dirty="0"/>
              <a:t>Bullet 22pt</a:t>
            </a:r>
          </a:p>
          <a:p>
            <a:pPr lvl="8"/>
            <a:r>
              <a:rPr lang="en-US" dirty="0"/>
              <a:t>Subheading 24pt 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153E186-2A7D-928C-A65C-E229E97C531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520941" y="1096964"/>
            <a:ext cx="5040000" cy="66674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bg1"/>
                </a:solidFill>
                <a:latin typeface="+mn-lt"/>
              </a:defRPr>
            </a:lvl2pPr>
            <a:lvl3pPr>
              <a:defRPr sz="2200" b="0">
                <a:solidFill>
                  <a:schemeClr val="bg1"/>
                </a:solidFill>
                <a:latin typeface="+mn-lt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ubheading 17pt </a:t>
            </a:r>
          </a:p>
        </p:txBody>
      </p:sp>
    </p:spTree>
    <p:extLst>
      <p:ext uri="{BB962C8B-B14F-4D97-AF65-F5344CB8AC3E}">
        <p14:creationId xmlns:p14="http://schemas.microsoft.com/office/powerpoint/2010/main" val="15483480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Light Char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FA1225B4-9AFE-C765-9443-404DA18886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sX0" fmla="*/ 387755 w 12192000"/>
              <a:gd name="csY0" fmla="*/ 782151 h 6858000"/>
              <a:gd name="csX1" fmla="*/ 277813 w 12192000"/>
              <a:gd name="csY1" fmla="*/ 892093 h 6858000"/>
              <a:gd name="csX2" fmla="*/ 277813 w 12192000"/>
              <a:gd name="csY2" fmla="*/ 6451195 h 6858000"/>
              <a:gd name="csX3" fmla="*/ 387755 w 12192000"/>
              <a:gd name="csY3" fmla="*/ 6561137 h 6858000"/>
              <a:gd name="csX4" fmla="*/ 5899978 w 12192000"/>
              <a:gd name="csY4" fmla="*/ 6561137 h 6858000"/>
              <a:gd name="csX5" fmla="*/ 6009920 w 12192000"/>
              <a:gd name="csY5" fmla="*/ 6451195 h 6858000"/>
              <a:gd name="csX6" fmla="*/ 6009920 w 12192000"/>
              <a:gd name="csY6" fmla="*/ 892093 h 6858000"/>
              <a:gd name="csX7" fmla="*/ 5899978 w 12192000"/>
              <a:gd name="csY7" fmla="*/ 782151 h 6858000"/>
              <a:gd name="csX8" fmla="*/ 6299285 w 12192000"/>
              <a:gd name="csY8" fmla="*/ 782150 h 6858000"/>
              <a:gd name="csX9" fmla="*/ 6189920 w 12192000"/>
              <a:gd name="csY9" fmla="*/ 891515 h 6858000"/>
              <a:gd name="csX10" fmla="*/ 6189920 w 12192000"/>
              <a:gd name="csY10" fmla="*/ 6451772 h 6858000"/>
              <a:gd name="csX11" fmla="*/ 6299285 w 12192000"/>
              <a:gd name="csY11" fmla="*/ 6561137 h 6858000"/>
              <a:gd name="csX12" fmla="*/ 11782598 w 12192000"/>
              <a:gd name="csY12" fmla="*/ 6561137 h 6858000"/>
              <a:gd name="csX13" fmla="*/ 11891963 w 12192000"/>
              <a:gd name="csY13" fmla="*/ 6451772 h 6858000"/>
              <a:gd name="csX14" fmla="*/ 11891963 w 12192000"/>
              <a:gd name="csY14" fmla="*/ 891515 h 6858000"/>
              <a:gd name="csX15" fmla="*/ 11782598 w 12192000"/>
              <a:gd name="csY15" fmla="*/ 782150 h 6858000"/>
              <a:gd name="csX16" fmla="*/ 0 w 12192000"/>
              <a:gd name="csY16" fmla="*/ 0 h 6858000"/>
              <a:gd name="csX17" fmla="*/ 12192000 w 12192000"/>
              <a:gd name="csY17" fmla="*/ 0 h 6858000"/>
              <a:gd name="csX18" fmla="*/ 12192000 w 12192000"/>
              <a:gd name="csY18" fmla="*/ 6858000 h 6858000"/>
              <a:gd name="csX19" fmla="*/ 0 w 12192000"/>
              <a:gd name="csY19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12192000" h="6858000">
                <a:moveTo>
                  <a:pt x="387755" y="782151"/>
                </a:moveTo>
                <a:cubicBezTo>
                  <a:pt x="327036" y="782151"/>
                  <a:pt x="277813" y="831374"/>
                  <a:pt x="277813" y="892093"/>
                </a:cubicBezTo>
                <a:lnTo>
                  <a:pt x="277813" y="6451195"/>
                </a:lnTo>
                <a:cubicBezTo>
                  <a:pt x="277813" y="6511914"/>
                  <a:pt x="327036" y="6561137"/>
                  <a:pt x="387755" y="6561137"/>
                </a:cubicBezTo>
                <a:lnTo>
                  <a:pt x="5899978" y="6561137"/>
                </a:lnTo>
                <a:cubicBezTo>
                  <a:pt x="5960697" y="6561137"/>
                  <a:pt x="6009920" y="6511914"/>
                  <a:pt x="6009920" y="6451195"/>
                </a:cubicBezTo>
                <a:lnTo>
                  <a:pt x="6009920" y="892093"/>
                </a:lnTo>
                <a:cubicBezTo>
                  <a:pt x="6009920" y="831374"/>
                  <a:pt x="5960697" y="782151"/>
                  <a:pt x="5899978" y="782151"/>
                </a:cubicBezTo>
                <a:close/>
                <a:moveTo>
                  <a:pt x="6299285" y="782150"/>
                </a:moveTo>
                <a:cubicBezTo>
                  <a:pt x="6238884" y="782150"/>
                  <a:pt x="6189920" y="831114"/>
                  <a:pt x="6189920" y="891515"/>
                </a:cubicBezTo>
                <a:lnTo>
                  <a:pt x="6189920" y="6451772"/>
                </a:lnTo>
                <a:cubicBezTo>
                  <a:pt x="6189920" y="6512173"/>
                  <a:pt x="6238884" y="6561137"/>
                  <a:pt x="6299285" y="6561137"/>
                </a:cubicBezTo>
                <a:lnTo>
                  <a:pt x="11782598" y="6561137"/>
                </a:lnTo>
                <a:cubicBezTo>
                  <a:pt x="11842999" y="6561137"/>
                  <a:pt x="11891963" y="6512173"/>
                  <a:pt x="11891963" y="6451772"/>
                </a:cubicBezTo>
                <a:lnTo>
                  <a:pt x="11891963" y="891515"/>
                </a:lnTo>
                <a:cubicBezTo>
                  <a:pt x="11891963" y="831114"/>
                  <a:pt x="11842999" y="782150"/>
                  <a:pt x="11782598" y="78215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9FDD02B-0F00-0863-3AD3-4F2B71200ED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520941" y="2095501"/>
            <a:ext cx="5040000" cy="2998788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6"/>
            <a:r>
              <a:rPr lang="en-US" dirty="0"/>
              <a:t>Body Copy 22pt</a:t>
            </a:r>
          </a:p>
          <a:p>
            <a:pPr lvl="7"/>
            <a:r>
              <a:rPr lang="en-US" dirty="0"/>
              <a:t>Bullet 22pt</a:t>
            </a:r>
          </a:p>
          <a:p>
            <a:pPr lvl="8"/>
            <a:r>
              <a:rPr lang="en-US" dirty="0"/>
              <a:t>Subheading 24pt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4A0BE7B-A022-929F-7620-760547156F84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520941" y="1096964"/>
            <a:ext cx="5040000" cy="63204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2200" b="0">
                <a:solidFill>
                  <a:schemeClr val="tx1"/>
                </a:solidFill>
                <a:latin typeface="+mj-lt"/>
                <a:cs typeface="UKCEH Suisse Medium" panose="020B06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heading 22pt </a:t>
            </a:r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B3B549B9-2805-2306-462A-8C93C2786CA6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F5D3FF9-B3BC-46B0-C98B-8A1ADD142231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1A88413-2D3D-4E73-2702-1DBAA70E1C4A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5CDB6DB0-D403-F80C-CFE3-E0102DA67D9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2BDA4C64-D991-F5F6-55F2-AFFC079C661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88984EE-F5FC-55FC-E678-6D0C4307C8EC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9CA07727-D72F-1CC7-1A32-B7FA43CC764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113ED8ED-9ABC-3146-AFF5-3141B3C3ECD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4" name="object 8">
            <a:extLst>
              <a:ext uri="{FF2B5EF4-FFF2-40B4-BE49-F238E27FC236}">
                <a16:creationId xmlns:a16="http://schemas.microsoft.com/office/drawing/2014/main" id="{2B4878A3-6CAE-64F7-6260-3E0A8145EDFC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5" name="object 9">
            <a:extLst>
              <a:ext uri="{FF2B5EF4-FFF2-40B4-BE49-F238E27FC236}">
                <a16:creationId xmlns:a16="http://schemas.microsoft.com/office/drawing/2014/main" id="{F5896C94-88BE-5C56-9599-8AE6E2A924F4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36FD3BE-0773-0CE4-7595-73AE2CE7DB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77813" y="782150"/>
            <a:ext cx="5732107" cy="5778986"/>
          </a:xfrm>
          <a:custGeom>
            <a:avLst/>
            <a:gdLst>
              <a:gd name="csX0" fmla="*/ 109942 w 5732107"/>
              <a:gd name="csY0" fmla="*/ 0 h 5778986"/>
              <a:gd name="csX1" fmla="*/ 5622165 w 5732107"/>
              <a:gd name="csY1" fmla="*/ 0 h 5778986"/>
              <a:gd name="csX2" fmla="*/ 5732107 w 5732107"/>
              <a:gd name="csY2" fmla="*/ 109942 h 5778986"/>
              <a:gd name="csX3" fmla="*/ 5732107 w 5732107"/>
              <a:gd name="csY3" fmla="*/ 5669044 h 5778986"/>
              <a:gd name="csX4" fmla="*/ 5622165 w 5732107"/>
              <a:gd name="csY4" fmla="*/ 5778986 h 5778986"/>
              <a:gd name="csX5" fmla="*/ 109942 w 5732107"/>
              <a:gd name="csY5" fmla="*/ 5778986 h 5778986"/>
              <a:gd name="csX6" fmla="*/ 0 w 5732107"/>
              <a:gd name="csY6" fmla="*/ 5669044 h 5778986"/>
              <a:gd name="csX7" fmla="*/ 0 w 5732107"/>
              <a:gd name="csY7" fmla="*/ 109942 h 5778986"/>
              <a:gd name="csX8" fmla="*/ 109942 w 5732107"/>
              <a:gd name="csY8" fmla="*/ 0 h 577898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5732107" h="5778986">
                <a:moveTo>
                  <a:pt x="109942" y="0"/>
                </a:moveTo>
                <a:lnTo>
                  <a:pt x="5622165" y="0"/>
                </a:lnTo>
                <a:cubicBezTo>
                  <a:pt x="5682884" y="0"/>
                  <a:pt x="5732107" y="49223"/>
                  <a:pt x="5732107" y="109942"/>
                </a:cubicBezTo>
                <a:lnTo>
                  <a:pt x="5732107" y="5669044"/>
                </a:lnTo>
                <a:cubicBezTo>
                  <a:pt x="5732107" y="5729763"/>
                  <a:pt x="5682884" y="5778986"/>
                  <a:pt x="5622165" y="5778986"/>
                </a:cubicBezTo>
                <a:lnTo>
                  <a:pt x="109942" y="5778986"/>
                </a:lnTo>
                <a:cubicBezTo>
                  <a:pt x="49223" y="5778986"/>
                  <a:pt x="0" y="5729763"/>
                  <a:pt x="0" y="5669044"/>
                </a:cubicBezTo>
                <a:lnTo>
                  <a:pt x="0" y="109942"/>
                </a:lnTo>
                <a:cubicBezTo>
                  <a:pt x="0" y="49223"/>
                  <a:pt x="49223" y="0"/>
                  <a:pt x="109942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3308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Light Chart 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36FD3BE-0773-0CE4-7595-73AE2CE7DB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89920" y="782150"/>
            <a:ext cx="5732107" cy="5778986"/>
          </a:xfrm>
          <a:custGeom>
            <a:avLst/>
            <a:gdLst>
              <a:gd name="csX0" fmla="*/ 109942 w 5732107"/>
              <a:gd name="csY0" fmla="*/ 0 h 5778986"/>
              <a:gd name="csX1" fmla="*/ 5622165 w 5732107"/>
              <a:gd name="csY1" fmla="*/ 0 h 5778986"/>
              <a:gd name="csX2" fmla="*/ 5732107 w 5732107"/>
              <a:gd name="csY2" fmla="*/ 109942 h 5778986"/>
              <a:gd name="csX3" fmla="*/ 5732107 w 5732107"/>
              <a:gd name="csY3" fmla="*/ 5669044 h 5778986"/>
              <a:gd name="csX4" fmla="*/ 5622165 w 5732107"/>
              <a:gd name="csY4" fmla="*/ 5778986 h 5778986"/>
              <a:gd name="csX5" fmla="*/ 109942 w 5732107"/>
              <a:gd name="csY5" fmla="*/ 5778986 h 5778986"/>
              <a:gd name="csX6" fmla="*/ 0 w 5732107"/>
              <a:gd name="csY6" fmla="*/ 5669044 h 5778986"/>
              <a:gd name="csX7" fmla="*/ 0 w 5732107"/>
              <a:gd name="csY7" fmla="*/ 109942 h 5778986"/>
              <a:gd name="csX8" fmla="*/ 109942 w 5732107"/>
              <a:gd name="csY8" fmla="*/ 0 h 577898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5732107" h="5778986">
                <a:moveTo>
                  <a:pt x="109942" y="0"/>
                </a:moveTo>
                <a:lnTo>
                  <a:pt x="5622165" y="0"/>
                </a:lnTo>
                <a:cubicBezTo>
                  <a:pt x="5682884" y="0"/>
                  <a:pt x="5732107" y="49223"/>
                  <a:pt x="5732107" y="109942"/>
                </a:cubicBezTo>
                <a:lnTo>
                  <a:pt x="5732107" y="5669044"/>
                </a:lnTo>
                <a:cubicBezTo>
                  <a:pt x="5732107" y="5729763"/>
                  <a:pt x="5682884" y="5778986"/>
                  <a:pt x="5622165" y="5778986"/>
                </a:cubicBezTo>
                <a:lnTo>
                  <a:pt x="109942" y="5778986"/>
                </a:lnTo>
                <a:cubicBezTo>
                  <a:pt x="49223" y="5778986"/>
                  <a:pt x="0" y="5729763"/>
                  <a:pt x="0" y="5669044"/>
                </a:cubicBezTo>
                <a:lnTo>
                  <a:pt x="0" y="109942"/>
                </a:lnTo>
                <a:cubicBezTo>
                  <a:pt x="0" y="49223"/>
                  <a:pt x="49223" y="0"/>
                  <a:pt x="109942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FA1225B4-9AFE-C765-9443-404DA18886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sX0" fmla="*/ 387755 w 12192000"/>
              <a:gd name="csY0" fmla="*/ 782151 h 6858000"/>
              <a:gd name="csX1" fmla="*/ 277813 w 12192000"/>
              <a:gd name="csY1" fmla="*/ 892093 h 6858000"/>
              <a:gd name="csX2" fmla="*/ 277813 w 12192000"/>
              <a:gd name="csY2" fmla="*/ 6451195 h 6858000"/>
              <a:gd name="csX3" fmla="*/ 387755 w 12192000"/>
              <a:gd name="csY3" fmla="*/ 6561137 h 6858000"/>
              <a:gd name="csX4" fmla="*/ 5899978 w 12192000"/>
              <a:gd name="csY4" fmla="*/ 6561137 h 6858000"/>
              <a:gd name="csX5" fmla="*/ 6009920 w 12192000"/>
              <a:gd name="csY5" fmla="*/ 6451195 h 6858000"/>
              <a:gd name="csX6" fmla="*/ 6009920 w 12192000"/>
              <a:gd name="csY6" fmla="*/ 892093 h 6858000"/>
              <a:gd name="csX7" fmla="*/ 5899978 w 12192000"/>
              <a:gd name="csY7" fmla="*/ 782151 h 6858000"/>
              <a:gd name="csX8" fmla="*/ 6299285 w 12192000"/>
              <a:gd name="csY8" fmla="*/ 782150 h 6858000"/>
              <a:gd name="csX9" fmla="*/ 6189920 w 12192000"/>
              <a:gd name="csY9" fmla="*/ 891515 h 6858000"/>
              <a:gd name="csX10" fmla="*/ 6189920 w 12192000"/>
              <a:gd name="csY10" fmla="*/ 6451772 h 6858000"/>
              <a:gd name="csX11" fmla="*/ 6299285 w 12192000"/>
              <a:gd name="csY11" fmla="*/ 6561137 h 6858000"/>
              <a:gd name="csX12" fmla="*/ 11782598 w 12192000"/>
              <a:gd name="csY12" fmla="*/ 6561137 h 6858000"/>
              <a:gd name="csX13" fmla="*/ 11891963 w 12192000"/>
              <a:gd name="csY13" fmla="*/ 6451772 h 6858000"/>
              <a:gd name="csX14" fmla="*/ 11891963 w 12192000"/>
              <a:gd name="csY14" fmla="*/ 891515 h 6858000"/>
              <a:gd name="csX15" fmla="*/ 11782598 w 12192000"/>
              <a:gd name="csY15" fmla="*/ 782150 h 6858000"/>
              <a:gd name="csX16" fmla="*/ 0 w 12192000"/>
              <a:gd name="csY16" fmla="*/ 0 h 6858000"/>
              <a:gd name="csX17" fmla="*/ 12192000 w 12192000"/>
              <a:gd name="csY17" fmla="*/ 0 h 6858000"/>
              <a:gd name="csX18" fmla="*/ 12192000 w 12192000"/>
              <a:gd name="csY18" fmla="*/ 6858000 h 6858000"/>
              <a:gd name="csX19" fmla="*/ 0 w 12192000"/>
              <a:gd name="csY19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12192000" h="6858000">
                <a:moveTo>
                  <a:pt x="387755" y="782151"/>
                </a:moveTo>
                <a:cubicBezTo>
                  <a:pt x="327036" y="782151"/>
                  <a:pt x="277813" y="831374"/>
                  <a:pt x="277813" y="892093"/>
                </a:cubicBezTo>
                <a:lnTo>
                  <a:pt x="277813" y="6451195"/>
                </a:lnTo>
                <a:cubicBezTo>
                  <a:pt x="277813" y="6511914"/>
                  <a:pt x="327036" y="6561137"/>
                  <a:pt x="387755" y="6561137"/>
                </a:cubicBezTo>
                <a:lnTo>
                  <a:pt x="5899978" y="6561137"/>
                </a:lnTo>
                <a:cubicBezTo>
                  <a:pt x="5960697" y="6561137"/>
                  <a:pt x="6009920" y="6511914"/>
                  <a:pt x="6009920" y="6451195"/>
                </a:cubicBezTo>
                <a:lnTo>
                  <a:pt x="6009920" y="892093"/>
                </a:lnTo>
                <a:cubicBezTo>
                  <a:pt x="6009920" y="831374"/>
                  <a:pt x="5960697" y="782151"/>
                  <a:pt x="5899978" y="782151"/>
                </a:cubicBezTo>
                <a:close/>
                <a:moveTo>
                  <a:pt x="6299285" y="782150"/>
                </a:moveTo>
                <a:cubicBezTo>
                  <a:pt x="6238884" y="782150"/>
                  <a:pt x="6189920" y="831114"/>
                  <a:pt x="6189920" y="891515"/>
                </a:cubicBezTo>
                <a:lnTo>
                  <a:pt x="6189920" y="6451772"/>
                </a:lnTo>
                <a:cubicBezTo>
                  <a:pt x="6189920" y="6512173"/>
                  <a:pt x="6238884" y="6561137"/>
                  <a:pt x="6299285" y="6561137"/>
                </a:cubicBezTo>
                <a:lnTo>
                  <a:pt x="11782598" y="6561137"/>
                </a:lnTo>
                <a:cubicBezTo>
                  <a:pt x="11842999" y="6561137"/>
                  <a:pt x="11891963" y="6512173"/>
                  <a:pt x="11891963" y="6451772"/>
                </a:cubicBezTo>
                <a:lnTo>
                  <a:pt x="11891963" y="891515"/>
                </a:lnTo>
                <a:cubicBezTo>
                  <a:pt x="11891963" y="831114"/>
                  <a:pt x="11842999" y="782150"/>
                  <a:pt x="11782598" y="78215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B3B549B9-2805-2306-462A-8C93C2786CA6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F5D3FF9-B3BC-46B0-C98B-8A1ADD142231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1A88413-2D3D-4E73-2702-1DBAA70E1C4A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5CDB6DB0-D403-F80C-CFE3-E0102DA67D9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2BDA4C64-D991-F5F6-55F2-AFFC079C661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88984EE-F5FC-55FC-E678-6D0C4307C8EC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9CA07727-D72F-1CC7-1A32-B7FA43CC764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113ED8ED-9ABC-3146-AFF5-3141B3C3ECD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4" name="object 8">
            <a:extLst>
              <a:ext uri="{FF2B5EF4-FFF2-40B4-BE49-F238E27FC236}">
                <a16:creationId xmlns:a16="http://schemas.microsoft.com/office/drawing/2014/main" id="{2B4878A3-6CAE-64F7-6260-3E0A8145EDFC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5" name="object 9">
            <a:extLst>
              <a:ext uri="{FF2B5EF4-FFF2-40B4-BE49-F238E27FC236}">
                <a16:creationId xmlns:a16="http://schemas.microsoft.com/office/drawing/2014/main" id="{F5896C94-88BE-5C56-9599-8AE6E2A924F4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B2D349C9-E885-7055-81FD-C01744CA94C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3866" y="2095500"/>
            <a:ext cx="5040000" cy="2998789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6"/>
            <a:r>
              <a:rPr lang="en-US" dirty="0"/>
              <a:t>Body Copy 22pt</a:t>
            </a:r>
          </a:p>
          <a:p>
            <a:pPr lvl="7"/>
            <a:r>
              <a:rPr lang="en-US" dirty="0"/>
              <a:t>Bullet 22pt</a:t>
            </a:r>
          </a:p>
          <a:p>
            <a:pPr lvl="8"/>
            <a:r>
              <a:rPr lang="en-US" dirty="0"/>
              <a:t>Subheading 24p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77910-2582-0667-606A-E4DB8ECF68B1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23866" y="1071659"/>
            <a:ext cx="5040000" cy="63204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2200" b="0">
                <a:solidFill>
                  <a:schemeClr val="tx1"/>
                </a:solidFill>
                <a:latin typeface="+mj-lt"/>
                <a:cs typeface="UKCEH Suisse Medium" panose="020B06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heading 22pt </a:t>
            </a:r>
          </a:p>
        </p:txBody>
      </p:sp>
    </p:spTree>
    <p:extLst>
      <p:ext uri="{BB962C8B-B14F-4D97-AF65-F5344CB8AC3E}">
        <p14:creationId xmlns:p14="http://schemas.microsoft.com/office/powerpoint/2010/main" val="17649596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Light Chart Comparis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65FD1440-4935-7D49-646D-2208403477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sX0" fmla="*/ 387755 w 12192000"/>
              <a:gd name="csY0" fmla="*/ 782151 h 6858000"/>
              <a:gd name="csX1" fmla="*/ 277813 w 12192000"/>
              <a:gd name="csY1" fmla="*/ 892093 h 6858000"/>
              <a:gd name="csX2" fmla="*/ 277813 w 12192000"/>
              <a:gd name="csY2" fmla="*/ 6451195 h 6858000"/>
              <a:gd name="csX3" fmla="*/ 387755 w 12192000"/>
              <a:gd name="csY3" fmla="*/ 6561137 h 6858000"/>
              <a:gd name="csX4" fmla="*/ 5899978 w 12192000"/>
              <a:gd name="csY4" fmla="*/ 6561137 h 6858000"/>
              <a:gd name="csX5" fmla="*/ 6009920 w 12192000"/>
              <a:gd name="csY5" fmla="*/ 6451195 h 6858000"/>
              <a:gd name="csX6" fmla="*/ 6009920 w 12192000"/>
              <a:gd name="csY6" fmla="*/ 892093 h 6858000"/>
              <a:gd name="csX7" fmla="*/ 5899978 w 12192000"/>
              <a:gd name="csY7" fmla="*/ 782151 h 6858000"/>
              <a:gd name="csX8" fmla="*/ 6097379 w 12192000"/>
              <a:gd name="csY8" fmla="*/ 782150 h 6858000"/>
              <a:gd name="csX9" fmla="*/ 6097379 w 12192000"/>
              <a:gd name="csY9" fmla="*/ 6561136 h 6858000"/>
              <a:gd name="csX10" fmla="*/ 6299280 w 12192000"/>
              <a:gd name="csY10" fmla="*/ 6561136 h 6858000"/>
              <a:gd name="csX11" fmla="*/ 6299285 w 12192000"/>
              <a:gd name="csY11" fmla="*/ 6561137 h 6858000"/>
              <a:gd name="csX12" fmla="*/ 11782598 w 12192000"/>
              <a:gd name="csY12" fmla="*/ 6561137 h 6858000"/>
              <a:gd name="csX13" fmla="*/ 11891963 w 12192000"/>
              <a:gd name="csY13" fmla="*/ 6451772 h 6858000"/>
              <a:gd name="csX14" fmla="*/ 11891963 w 12192000"/>
              <a:gd name="csY14" fmla="*/ 891515 h 6858000"/>
              <a:gd name="csX15" fmla="*/ 11782598 w 12192000"/>
              <a:gd name="csY15" fmla="*/ 782150 h 6858000"/>
              <a:gd name="csX16" fmla="*/ 7625300 w 12192000"/>
              <a:gd name="csY16" fmla="*/ 782150 h 6858000"/>
              <a:gd name="csX17" fmla="*/ 6299285 w 12192000"/>
              <a:gd name="csY17" fmla="*/ 782150 h 6858000"/>
              <a:gd name="csX18" fmla="*/ 0 w 12192000"/>
              <a:gd name="csY18" fmla="*/ 0 h 6858000"/>
              <a:gd name="csX19" fmla="*/ 12192000 w 12192000"/>
              <a:gd name="csY19" fmla="*/ 0 h 6858000"/>
              <a:gd name="csX20" fmla="*/ 12192000 w 12192000"/>
              <a:gd name="csY20" fmla="*/ 6858000 h 6858000"/>
              <a:gd name="csX21" fmla="*/ 0 w 12192000"/>
              <a:gd name="csY21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2192000" h="6858000">
                <a:moveTo>
                  <a:pt x="387755" y="782151"/>
                </a:moveTo>
                <a:cubicBezTo>
                  <a:pt x="327036" y="782151"/>
                  <a:pt x="277813" y="831374"/>
                  <a:pt x="277813" y="892093"/>
                </a:cubicBezTo>
                <a:lnTo>
                  <a:pt x="277813" y="6451195"/>
                </a:lnTo>
                <a:cubicBezTo>
                  <a:pt x="277813" y="6511914"/>
                  <a:pt x="327036" y="6561137"/>
                  <a:pt x="387755" y="6561137"/>
                </a:cubicBezTo>
                <a:lnTo>
                  <a:pt x="5899978" y="6561137"/>
                </a:lnTo>
                <a:cubicBezTo>
                  <a:pt x="5960697" y="6561137"/>
                  <a:pt x="6009920" y="6511914"/>
                  <a:pt x="6009920" y="6451195"/>
                </a:cubicBezTo>
                <a:lnTo>
                  <a:pt x="6009920" y="892093"/>
                </a:lnTo>
                <a:cubicBezTo>
                  <a:pt x="6009920" y="831374"/>
                  <a:pt x="5960697" y="782151"/>
                  <a:pt x="5899978" y="782151"/>
                </a:cubicBezTo>
                <a:close/>
                <a:moveTo>
                  <a:pt x="6097379" y="782150"/>
                </a:moveTo>
                <a:lnTo>
                  <a:pt x="6097379" y="6561136"/>
                </a:lnTo>
                <a:lnTo>
                  <a:pt x="6299280" y="6561136"/>
                </a:lnTo>
                <a:lnTo>
                  <a:pt x="6299285" y="6561137"/>
                </a:lnTo>
                <a:lnTo>
                  <a:pt x="11782598" y="6561137"/>
                </a:lnTo>
                <a:cubicBezTo>
                  <a:pt x="11842999" y="6561137"/>
                  <a:pt x="11891963" y="6512173"/>
                  <a:pt x="11891963" y="6451772"/>
                </a:cubicBezTo>
                <a:lnTo>
                  <a:pt x="11891963" y="891515"/>
                </a:lnTo>
                <a:cubicBezTo>
                  <a:pt x="11891963" y="831114"/>
                  <a:pt x="11842999" y="782150"/>
                  <a:pt x="11782598" y="782150"/>
                </a:cubicBezTo>
                <a:lnTo>
                  <a:pt x="7625300" y="782150"/>
                </a:lnTo>
                <a:lnTo>
                  <a:pt x="6299285" y="7821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9FDD02B-0F00-0863-3AD3-4F2B71200ED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520941" y="2095501"/>
            <a:ext cx="5040000" cy="2998788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6"/>
            <a:r>
              <a:rPr lang="en-US" dirty="0"/>
              <a:t>Body Copy 22pt</a:t>
            </a:r>
          </a:p>
          <a:p>
            <a:pPr lvl="7"/>
            <a:r>
              <a:rPr lang="en-US" dirty="0"/>
              <a:t>Bullet 22pt</a:t>
            </a:r>
          </a:p>
          <a:p>
            <a:pPr lvl="8"/>
            <a:r>
              <a:rPr lang="en-US" dirty="0"/>
              <a:t>Subheading 24pt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4A0BE7B-A022-929F-7620-760547156F84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520941" y="1096964"/>
            <a:ext cx="5040000" cy="63204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2200" b="0">
                <a:solidFill>
                  <a:schemeClr val="tx1"/>
                </a:solidFill>
                <a:latin typeface="+mj-lt"/>
                <a:cs typeface="UKCEH Suisse Medium" panose="020B06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heading 22pt </a:t>
            </a:r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B3B549B9-2805-2306-462A-8C93C2786CA6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F5D3FF9-B3BC-46B0-C98B-8A1ADD142231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1A88413-2D3D-4E73-2702-1DBAA70E1C4A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5CDB6DB0-D403-F80C-CFE3-E0102DA67D9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2BDA4C64-D991-F5F6-55F2-AFFC079C661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88984EE-F5FC-55FC-E678-6D0C4307C8EC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9CA07727-D72F-1CC7-1A32-B7FA43CC764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113ED8ED-9ABC-3146-AFF5-3141B3C3ECD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4" name="object 8">
            <a:extLst>
              <a:ext uri="{FF2B5EF4-FFF2-40B4-BE49-F238E27FC236}">
                <a16:creationId xmlns:a16="http://schemas.microsoft.com/office/drawing/2014/main" id="{2B4878A3-6CAE-64F7-6260-3E0A8145EDFC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5" name="object 9">
            <a:extLst>
              <a:ext uri="{FF2B5EF4-FFF2-40B4-BE49-F238E27FC236}">
                <a16:creationId xmlns:a16="http://schemas.microsoft.com/office/drawing/2014/main" id="{F5896C94-88BE-5C56-9599-8AE6E2A924F4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A25670B-5E91-CCE3-BD06-E0B317012F3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77812" y="782150"/>
            <a:ext cx="5819568" cy="5778986"/>
          </a:xfrm>
          <a:custGeom>
            <a:avLst/>
            <a:gdLst>
              <a:gd name="csX0" fmla="*/ 109942 w 5819568"/>
              <a:gd name="csY0" fmla="*/ 0 h 5778986"/>
              <a:gd name="csX1" fmla="*/ 779568 w 5819568"/>
              <a:gd name="csY1" fmla="*/ 0 h 5778986"/>
              <a:gd name="csX2" fmla="*/ 5622165 w 5819568"/>
              <a:gd name="csY2" fmla="*/ 0 h 5778986"/>
              <a:gd name="csX3" fmla="*/ 5819568 w 5819568"/>
              <a:gd name="csY3" fmla="*/ 0 h 5778986"/>
              <a:gd name="csX4" fmla="*/ 5819568 w 5819568"/>
              <a:gd name="csY4" fmla="*/ 5778986 h 5778986"/>
              <a:gd name="csX5" fmla="*/ 5622165 w 5819568"/>
              <a:gd name="csY5" fmla="*/ 5778986 h 5778986"/>
              <a:gd name="csX6" fmla="*/ 779568 w 5819568"/>
              <a:gd name="csY6" fmla="*/ 5778986 h 5778986"/>
              <a:gd name="csX7" fmla="*/ 109942 w 5819568"/>
              <a:gd name="csY7" fmla="*/ 5778986 h 5778986"/>
              <a:gd name="csX8" fmla="*/ 0 w 5819568"/>
              <a:gd name="csY8" fmla="*/ 5669044 h 5778986"/>
              <a:gd name="csX9" fmla="*/ 0 w 5819568"/>
              <a:gd name="csY9" fmla="*/ 109942 h 5778986"/>
              <a:gd name="csX10" fmla="*/ 109942 w 5819568"/>
              <a:gd name="csY10" fmla="*/ 0 h 577898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5819568" h="5778986">
                <a:moveTo>
                  <a:pt x="109942" y="0"/>
                </a:moveTo>
                <a:lnTo>
                  <a:pt x="779568" y="0"/>
                </a:lnTo>
                <a:lnTo>
                  <a:pt x="5622165" y="0"/>
                </a:lnTo>
                <a:lnTo>
                  <a:pt x="5819568" y="0"/>
                </a:lnTo>
                <a:lnTo>
                  <a:pt x="5819568" y="5778986"/>
                </a:lnTo>
                <a:lnTo>
                  <a:pt x="5622165" y="5778986"/>
                </a:lnTo>
                <a:lnTo>
                  <a:pt x="779568" y="5778986"/>
                </a:lnTo>
                <a:lnTo>
                  <a:pt x="109942" y="5778986"/>
                </a:lnTo>
                <a:cubicBezTo>
                  <a:pt x="49223" y="5778986"/>
                  <a:pt x="0" y="5729763"/>
                  <a:pt x="0" y="5669044"/>
                </a:cubicBezTo>
                <a:lnTo>
                  <a:pt x="0" y="109942"/>
                </a:lnTo>
                <a:cubicBezTo>
                  <a:pt x="0" y="49223"/>
                  <a:pt x="49223" y="0"/>
                  <a:pt x="109942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3846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Light Chart Comparison 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65FD1440-4935-7D49-646D-2208403477E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custGeom>
            <a:avLst/>
            <a:gdLst>
              <a:gd name="csX0" fmla="*/ 387755 w 12192000"/>
              <a:gd name="csY0" fmla="*/ 782151 h 6858000"/>
              <a:gd name="csX1" fmla="*/ 277813 w 12192000"/>
              <a:gd name="csY1" fmla="*/ 892093 h 6858000"/>
              <a:gd name="csX2" fmla="*/ 277813 w 12192000"/>
              <a:gd name="csY2" fmla="*/ 6451195 h 6858000"/>
              <a:gd name="csX3" fmla="*/ 387755 w 12192000"/>
              <a:gd name="csY3" fmla="*/ 6561137 h 6858000"/>
              <a:gd name="csX4" fmla="*/ 5899978 w 12192000"/>
              <a:gd name="csY4" fmla="*/ 6561137 h 6858000"/>
              <a:gd name="csX5" fmla="*/ 6009920 w 12192000"/>
              <a:gd name="csY5" fmla="*/ 6451195 h 6858000"/>
              <a:gd name="csX6" fmla="*/ 6009920 w 12192000"/>
              <a:gd name="csY6" fmla="*/ 892093 h 6858000"/>
              <a:gd name="csX7" fmla="*/ 5899978 w 12192000"/>
              <a:gd name="csY7" fmla="*/ 782151 h 6858000"/>
              <a:gd name="csX8" fmla="*/ 6097379 w 12192000"/>
              <a:gd name="csY8" fmla="*/ 782150 h 6858000"/>
              <a:gd name="csX9" fmla="*/ 6097379 w 12192000"/>
              <a:gd name="csY9" fmla="*/ 6561136 h 6858000"/>
              <a:gd name="csX10" fmla="*/ 6299280 w 12192000"/>
              <a:gd name="csY10" fmla="*/ 6561136 h 6858000"/>
              <a:gd name="csX11" fmla="*/ 6299285 w 12192000"/>
              <a:gd name="csY11" fmla="*/ 6561137 h 6858000"/>
              <a:gd name="csX12" fmla="*/ 11782598 w 12192000"/>
              <a:gd name="csY12" fmla="*/ 6561137 h 6858000"/>
              <a:gd name="csX13" fmla="*/ 11891963 w 12192000"/>
              <a:gd name="csY13" fmla="*/ 6451772 h 6858000"/>
              <a:gd name="csX14" fmla="*/ 11891963 w 12192000"/>
              <a:gd name="csY14" fmla="*/ 891515 h 6858000"/>
              <a:gd name="csX15" fmla="*/ 11782598 w 12192000"/>
              <a:gd name="csY15" fmla="*/ 782150 h 6858000"/>
              <a:gd name="csX16" fmla="*/ 7625300 w 12192000"/>
              <a:gd name="csY16" fmla="*/ 782150 h 6858000"/>
              <a:gd name="csX17" fmla="*/ 6299285 w 12192000"/>
              <a:gd name="csY17" fmla="*/ 782150 h 6858000"/>
              <a:gd name="csX18" fmla="*/ 0 w 12192000"/>
              <a:gd name="csY18" fmla="*/ 0 h 6858000"/>
              <a:gd name="csX19" fmla="*/ 12192000 w 12192000"/>
              <a:gd name="csY19" fmla="*/ 0 h 6858000"/>
              <a:gd name="csX20" fmla="*/ 12192000 w 12192000"/>
              <a:gd name="csY20" fmla="*/ 6858000 h 6858000"/>
              <a:gd name="csX21" fmla="*/ 0 w 12192000"/>
              <a:gd name="csY21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2192000" h="6858000">
                <a:moveTo>
                  <a:pt x="387755" y="782151"/>
                </a:moveTo>
                <a:cubicBezTo>
                  <a:pt x="327036" y="782151"/>
                  <a:pt x="277813" y="831374"/>
                  <a:pt x="277813" y="892093"/>
                </a:cubicBezTo>
                <a:lnTo>
                  <a:pt x="277813" y="6451195"/>
                </a:lnTo>
                <a:cubicBezTo>
                  <a:pt x="277813" y="6511914"/>
                  <a:pt x="327036" y="6561137"/>
                  <a:pt x="387755" y="6561137"/>
                </a:cubicBezTo>
                <a:lnTo>
                  <a:pt x="5899978" y="6561137"/>
                </a:lnTo>
                <a:cubicBezTo>
                  <a:pt x="5960697" y="6561137"/>
                  <a:pt x="6009920" y="6511914"/>
                  <a:pt x="6009920" y="6451195"/>
                </a:cubicBezTo>
                <a:lnTo>
                  <a:pt x="6009920" y="892093"/>
                </a:lnTo>
                <a:cubicBezTo>
                  <a:pt x="6009920" y="831374"/>
                  <a:pt x="5960697" y="782151"/>
                  <a:pt x="5899978" y="782151"/>
                </a:cubicBezTo>
                <a:close/>
                <a:moveTo>
                  <a:pt x="6097379" y="782150"/>
                </a:moveTo>
                <a:lnTo>
                  <a:pt x="6097379" y="6561136"/>
                </a:lnTo>
                <a:lnTo>
                  <a:pt x="6299280" y="6561136"/>
                </a:lnTo>
                <a:lnTo>
                  <a:pt x="6299285" y="6561137"/>
                </a:lnTo>
                <a:lnTo>
                  <a:pt x="11782598" y="6561137"/>
                </a:lnTo>
                <a:cubicBezTo>
                  <a:pt x="11842999" y="6561137"/>
                  <a:pt x="11891963" y="6512173"/>
                  <a:pt x="11891963" y="6451772"/>
                </a:cubicBezTo>
                <a:lnTo>
                  <a:pt x="11891963" y="891515"/>
                </a:lnTo>
                <a:cubicBezTo>
                  <a:pt x="11891963" y="831114"/>
                  <a:pt x="11842999" y="782150"/>
                  <a:pt x="11782598" y="782150"/>
                </a:cubicBezTo>
                <a:lnTo>
                  <a:pt x="7625300" y="782150"/>
                </a:lnTo>
                <a:lnTo>
                  <a:pt x="6299285" y="7821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B3B549B9-2805-2306-462A-8C93C2786CA6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F5D3FF9-B3BC-46B0-C98B-8A1ADD142231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1A88413-2D3D-4E73-2702-1DBAA70E1C4A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5CDB6DB0-D403-F80C-CFE3-E0102DA67D9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2BDA4C64-D991-F5F6-55F2-AFFC079C661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88984EE-F5FC-55FC-E678-6D0C4307C8EC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9CA07727-D72F-1CC7-1A32-B7FA43CC764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113ED8ED-9ABC-3146-AFF5-3141B3C3ECD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4" name="object 8">
            <a:extLst>
              <a:ext uri="{FF2B5EF4-FFF2-40B4-BE49-F238E27FC236}">
                <a16:creationId xmlns:a16="http://schemas.microsoft.com/office/drawing/2014/main" id="{2B4878A3-6CAE-64F7-6260-3E0A8145EDFC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5" name="object 9">
            <a:extLst>
              <a:ext uri="{FF2B5EF4-FFF2-40B4-BE49-F238E27FC236}">
                <a16:creationId xmlns:a16="http://schemas.microsoft.com/office/drawing/2014/main" id="{F5896C94-88BE-5C56-9599-8AE6E2A924F4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A25670B-5E91-CCE3-BD06-E0B317012F3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 flipH="1">
            <a:off x="6114063" y="782150"/>
            <a:ext cx="5819568" cy="5778986"/>
          </a:xfrm>
          <a:custGeom>
            <a:avLst/>
            <a:gdLst>
              <a:gd name="csX0" fmla="*/ 109942 w 5819568"/>
              <a:gd name="csY0" fmla="*/ 0 h 5778986"/>
              <a:gd name="csX1" fmla="*/ 779568 w 5819568"/>
              <a:gd name="csY1" fmla="*/ 0 h 5778986"/>
              <a:gd name="csX2" fmla="*/ 5622165 w 5819568"/>
              <a:gd name="csY2" fmla="*/ 0 h 5778986"/>
              <a:gd name="csX3" fmla="*/ 5819568 w 5819568"/>
              <a:gd name="csY3" fmla="*/ 0 h 5778986"/>
              <a:gd name="csX4" fmla="*/ 5819568 w 5819568"/>
              <a:gd name="csY4" fmla="*/ 5778986 h 5778986"/>
              <a:gd name="csX5" fmla="*/ 5622165 w 5819568"/>
              <a:gd name="csY5" fmla="*/ 5778986 h 5778986"/>
              <a:gd name="csX6" fmla="*/ 779568 w 5819568"/>
              <a:gd name="csY6" fmla="*/ 5778986 h 5778986"/>
              <a:gd name="csX7" fmla="*/ 109942 w 5819568"/>
              <a:gd name="csY7" fmla="*/ 5778986 h 5778986"/>
              <a:gd name="csX8" fmla="*/ 0 w 5819568"/>
              <a:gd name="csY8" fmla="*/ 5669044 h 5778986"/>
              <a:gd name="csX9" fmla="*/ 0 w 5819568"/>
              <a:gd name="csY9" fmla="*/ 109942 h 5778986"/>
              <a:gd name="csX10" fmla="*/ 109942 w 5819568"/>
              <a:gd name="csY10" fmla="*/ 0 h 577898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5819568" h="5778986">
                <a:moveTo>
                  <a:pt x="109942" y="0"/>
                </a:moveTo>
                <a:lnTo>
                  <a:pt x="779568" y="0"/>
                </a:lnTo>
                <a:lnTo>
                  <a:pt x="5622165" y="0"/>
                </a:lnTo>
                <a:lnTo>
                  <a:pt x="5819568" y="0"/>
                </a:lnTo>
                <a:lnTo>
                  <a:pt x="5819568" y="5778986"/>
                </a:lnTo>
                <a:lnTo>
                  <a:pt x="5622165" y="5778986"/>
                </a:lnTo>
                <a:lnTo>
                  <a:pt x="779568" y="5778986"/>
                </a:lnTo>
                <a:lnTo>
                  <a:pt x="109942" y="5778986"/>
                </a:lnTo>
                <a:cubicBezTo>
                  <a:pt x="49223" y="5778986"/>
                  <a:pt x="0" y="5729763"/>
                  <a:pt x="0" y="5669044"/>
                </a:cubicBezTo>
                <a:lnTo>
                  <a:pt x="0" y="109942"/>
                </a:lnTo>
                <a:cubicBezTo>
                  <a:pt x="0" y="49223"/>
                  <a:pt x="49223" y="0"/>
                  <a:pt x="109942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F9704BC-5034-C703-FB86-CF30172A02E8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3866" y="2095500"/>
            <a:ext cx="5040000" cy="2998789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6"/>
            <a:r>
              <a:rPr lang="en-US" dirty="0"/>
              <a:t>Body Copy 22pt</a:t>
            </a:r>
          </a:p>
          <a:p>
            <a:pPr lvl="7"/>
            <a:r>
              <a:rPr lang="en-US" dirty="0"/>
              <a:t>Bullet 22pt</a:t>
            </a:r>
          </a:p>
          <a:p>
            <a:pPr lvl="8"/>
            <a:r>
              <a:rPr lang="en-US" dirty="0"/>
              <a:t>Subheading 24pt 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A8F4AF7-AEAD-2C99-B0BC-A0F7468ACD9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23866" y="1071659"/>
            <a:ext cx="5040000" cy="63204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2200" b="0">
                <a:solidFill>
                  <a:schemeClr val="tx1"/>
                </a:solidFill>
                <a:latin typeface="+mj-lt"/>
                <a:cs typeface="UKCEH Suisse Medium" panose="020B06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heading 22pt </a:t>
            </a:r>
          </a:p>
        </p:txBody>
      </p:sp>
    </p:spTree>
    <p:extLst>
      <p:ext uri="{BB962C8B-B14F-4D97-AF65-F5344CB8AC3E}">
        <p14:creationId xmlns:p14="http://schemas.microsoft.com/office/powerpoint/2010/main" val="446708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59" y="1153525"/>
            <a:ext cx="52992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2C1559-5C0F-9C52-FE1A-97813BBEE78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201863" y="2095501"/>
            <a:ext cx="9202737" cy="39973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>
              <a:defRPr sz="2200"/>
            </a:lvl6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  <a:p>
            <a:pPr lvl="8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53411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60" y="1153525"/>
            <a:ext cx="3529166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3529166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 18pt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2E8299F-10C0-3D54-F5EA-775E5DDC85E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332288" y="2281287"/>
            <a:ext cx="3532187" cy="1282326"/>
          </a:xfrm>
        </p:spPr>
        <p:txBody>
          <a:bodyPr lIns="180000" bIns="180000" anchor="b"/>
          <a:lstStyle>
            <a:lvl1pPr>
              <a:lnSpc>
                <a:spcPct val="100000"/>
              </a:lnSpc>
              <a:defRPr sz="2200" spc="-50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buSzPct val="120000"/>
              <a:buNone/>
              <a:defRPr sz="280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ody Copy 28pt</a:t>
            </a:r>
          </a:p>
          <a:p>
            <a:pPr lvl="2"/>
            <a:r>
              <a:rPr lang="en-US" dirty="0"/>
              <a:t>Subheading 28pt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F51DF53-7A57-7591-630A-332C29C31FCA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332287" y="772781"/>
            <a:ext cx="2634121" cy="759028"/>
          </a:xfrm>
        </p:spPr>
        <p:txBody>
          <a:bodyPr lIns="180000" tIns="180000"/>
          <a:lstStyle>
            <a:lvl1pPr>
              <a:lnSpc>
                <a:spcPct val="80000"/>
              </a:lnSpc>
              <a:defRPr sz="6000"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1400" b="1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/>
            </a:lvl6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F945F9-0E47-5AD3-7D09-78C317E628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2428874"/>
            <a:ext cx="3529166" cy="3330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>
              <a:defRPr sz="2200"/>
            </a:lvl6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6A7EA64-EA9C-95FC-7242-F9E71BBAC43B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84125" y="2281287"/>
            <a:ext cx="3532187" cy="1282326"/>
          </a:xfrm>
        </p:spPr>
        <p:txBody>
          <a:bodyPr lIns="180000" bIns="180000" anchor="b"/>
          <a:lstStyle>
            <a:lvl1pPr>
              <a:lnSpc>
                <a:spcPct val="100000"/>
              </a:lnSpc>
              <a:defRPr sz="2200" spc="-50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buSzPct val="120000"/>
              <a:buNone/>
              <a:defRPr sz="280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ody Copy 28pt</a:t>
            </a:r>
          </a:p>
          <a:p>
            <a:pPr lvl="2"/>
            <a:r>
              <a:rPr lang="en-US" dirty="0"/>
              <a:t>Subheading 28pt 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F3020F4-C7C5-6CB2-5B10-35780545C7D3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184125" y="772781"/>
            <a:ext cx="2634121" cy="759028"/>
          </a:xfrm>
        </p:spPr>
        <p:txBody>
          <a:bodyPr lIns="180000" tIns="180000"/>
          <a:lstStyle>
            <a:lvl1pPr>
              <a:lnSpc>
                <a:spcPct val="80000"/>
              </a:lnSpc>
              <a:defRPr sz="6000"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1400" b="1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/>
            </a:lvl6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E4A0B78-62D1-D9EC-47A2-4B9063D066FC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4374589" y="5277190"/>
            <a:ext cx="3532187" cy="1282326"/>
          </a:xfrm>
        </p:spPr>
        <p:txBody>
          <a:bodyPr lIns="180000" bIns="180000" anchor="b"/>
          <a:lstStyle>
            <a:lvl1pPr>
              <a:lnSpc>
                <a:spcPct val="100000"/>
              </a:lnSpc>
              <a:defRPr sz="2200" spc="-50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buSzPct val="120000"/>
              <a:buNone/>
              <a:defRPr sz="2800">
                <a:solidFill>
                  <a:schemeClr val="tx1"/>
                </a:solidFill>
                <a:latin typeface="+mn-lt"/>
              </a:defRPr>
            </a:lvl2pPr>
            <a:lvl3pPr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ody Copy 28pt</a:t>
            </a:r>
          </a:p>
          <a:p>
            <a:pPr lvl="2"/>
            <a:r>
              <a:rPr lang="en-US" dirty="0"/>
              <a:t>Subheading 28pt 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6A10C47-86F9-4F9B-FE10-6846D1BDE7F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374588" y="3768684"/>
            <a:ext cx="2634121" cy="759028"/>
          </a:xfrm>
        </p:spPr>
        <p:txBody>
          <a:bodyPr lIns="180000" tIns="180000"/>
          <a:lstStyle>
            <a:lvl1pPr>
              <a:lnSpc>
                <a:spcPct val="80000"/>
              </a:lnSpc>
              <a:defRPr sz="6000"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1400" b="1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/>
            </a:lvl6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FB719F09-B921-97A8-9CB5-267700F8C8A0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8226426" y="5277190"/>
            <a:ext cx="3532187" cy="1282326"/>
          </a:xfrm>
        </p:spPr>
        <p:txBody>
          <a:bodyPr lIns="180000" bIns="180000" anchor="b"/>
          <a:lstStyle>
            <a:lvl1pPr>
              <a:lnSpc>
                <a:spcPct val="100000"/>
              </a:lnSpc>
              <a:defRPr sz="2200" spc="-50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buSzPct val="120000"/>
              <a:buNone/>
              <a:defRPr sz="280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ody Copy 28pt</a:t>
            </a:r>
          </a:p>
          <a:p>
            <a:pPr lvl="2"/>
            <a:r>
              <a:rPr lang="en-US" dirty="0"/>
              <a:t>Subheading 28pt 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158AF24-5451-F6F4-70EC-BEC0DBF5108B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8226426" y="3768684"/>
            <a:ext cx="2634121" cy="759028"/>
          </a:xfrm>
        </p:spPr>
        <p:txBody>
          <a:bodyPr lIns="180000" tIns="180000"/>
          <a:lstStyle>
            <a:lvl1pPr>
              <a:lnSpc>
                <a:spcPct val="80000"/>
              </a:lnSpc>
              <a:defRPr sz="6000"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1400" b="1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/>
            </a:lvl6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9D8C5F-D5F0-B1D9-38DE-8D17C0C47B9E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422196" y="6089950"/>
            <a:ext cx="3543380" cy="47118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588594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object 3">
            <a:extLst>
              <a:ext uri="{FF2B5EF4-FFF2-40B4-BE49-F238E27FC236}">
                <a16:creationId xmlns:a16="http://schemas.microsoft.com/office/drawing/2014/main" id="{576A5031-287C-A37D-84F1-F396E449E534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928198" y="0"/>
            <a:ext cx="8263373" cy="6857519"/>
          </a:xfrm>
          <a:prstGeom prst="rect">
            <a:avLst/>
          </a:prstGeom>
        </p:spPr>
      </p:pic>
      <p:sp>
        <p:nvSpPr>
          <p:cNvPr id="38" name="Content Placeholder 37">
            <a:extLst>
              <a:ext uri="{FF2B5EF4-FFF2-40B4-BE49-F238E27FC236}">
                <a16:creationId xmlns:a16="http://schemas.microsoft.com/office/drawing/2014/main" id="{4A4C3D98-3DC2-4C00-6BA1-FB8398880F6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1800" y="464721"/>
            <a:ext cx="9202738" cy="2297745"/>
          </a:xfrm>
        </p:spPr>
        <p:txBody>
          <a:bodyPr/>
          <a:lstStyle>
            <a:lvl1pPr>
              <a:lnSpc>
                <a:spcPct val="75000"/>
              </a:lnSpc>
              <a:spcBef>
                <a:spcPts val="1600"/>
              </a:spcBef>
              <a:spcAft>
                <a:spcPts val="0"/>
              </a:spcAft>
              <a:buFontTx/>
              <a:buNone/>
              <a:defRPr sz="5000" spc="-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76000"/>
              </a:lnSpc>
              <a:spcBef>
                <a:spcPts val="1600"/>
              </a:spcBef>
              <a:buFontTx/>
              <a:buNone/>
              <a:tabLst/>
              <a:defRPr sz="8800" spc="-300" baseline="0">
                <a:solidFill>
                  <a:schemeClr val="bg1"/>
                </a:solidFill>
                <a:latin typeface="+mn-lt"/>
              </a:defRPr>
            </a:lvl2pPr>
            <a:lvl3pPr>
              <a:buFontTx/>
              <a:buNone/>
              <a:defRPr>
                <a:solidFill>
                  <a:schemeClr val="bg1"/>
                </a:solidFill>
              </a:defRPr>
            </a:lvl3pPr>
            <a:lvl4pPr>
              <a:buFontTx/>
              <a:buNone/>
              <a:defRPr>
                <a:solidFill>
                  <a:schemeClr val="bg1"/>
                </a:solidFill>
              </a:defRPr>
            </a:lvl4pPr>
            <a:lvl5pPr>
              <a:buFontTx/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 sz="3600" spc="-70" baseline="0">
                <a:solidFill>
                  <a:schemeClr val="tx2"/>
                </a:solidFill>
              </a:defRPr>
            </a:lvl7pPr>
          </a:lstStyle>
          <a:p>
            <a:pPr lvl="6"/>
            <a:r>
              <a:rPr lang="en-US" dirty="0"/>
              <a:t>Subtitle</a:t>
            </a:r>
          </a:p>
          <a:p>
            <a:pPr lvl="0"/>
            <a:r>
              <a:rPr lang="en-US" dirty="0"/>
              <a:t>Title 2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647EFED-A9B0-34B0-D7E6-D1AABFE9A0C5}"/>
              </a:ext>
            </a:extLst>
          </p:cNvPr>
          <p:cNvGrpSpPr/>
          <p:nvPr userDrawn="1"/>
        </p:nvGrpSpPr>
        <p:grpSpPr>
          <a:xfrm>
            <a:off x="444892" y="5904961"/>
            <a:ext cx="3936603" cy="556898"/>
            <a:chOff x="444893" y="5867945"/>
            <a:chExt cx="2923418" cy="413566"/>
          </a:xfrm>
        </p:grpSpPr>
        <p:sp>
          <p:nvSpPr>
            <p:cNvPr id="41" name="object 5">
              <a:extLst>
                <a:ext uri="{FF2B5EF4-FFF2-40B4-BE49-F238E27FC236}">
                  <a16:creationId xmlns:a16="http://schemas.microsoft.com/office/drawing/2014/main" id="{EE24C5D3-36AE-9435-A3A7-AFF89035C0C4}"/>
                </a:ext>
              </a:extLst>
            </p:cNvPr>
            <p:cNvSpPr/>
            <p:nvPr userDrawn="1"/>
          </p:nvSpPr>
          <p:spPr>
            <a:xfrm>
              <a:off x="926645" y="5947946"/>
              <a:ext cx="1083187" cy="251832"/>
            </a:xfrm>
            <a:custGeom>
              <a:avLst/>
              <a:gdLst/>
              <a:ahLst/>
              <a:cxnLst/>
              <a:rect l="l" t="t" r="r" b="b"/>
              <a:pathLst>
                <a:path w="1786254" h="415290">
                  <a:moveTo>
                    <a:pt x="56364" y="7183"/>
                  </a:moveTo>
                  <a:lnTo>
                    <a:pt x="0" y="7183"/>
                  </a:lnTo>
                  <a:lnTo>
                    <a:pt x="0" y="244840"/>
                  </a:lnTo>
                  <a:lnTo>
                    <a:pt x="4117" y="300816"/>
                  </a:lnTo>
                  <a:lnTo>
                    <a:pt x="16723" y="344480"/>
                  </a:lnTo>
                  <a:lnTo>
                    <a:pt x="38204" y="376784"/>
                  </a:lnTo>
                  <a:lnTo>
                    <a:pt x="109320" y="411120"/>
                  </a:lnTo>
                  <a:lnTo>
                    <a:pt x="159722" y="415055"/>
                  </a:lnTo>
                  <a:lnTo>
                    <a:pt x="212167" y="410254"/>
                  </a:lnTo>
                  <a:lnTo>
                    <a:pt x="253389" y="395812"/>
                  </a:lnTo>
                  <a:lnTo>
                    <a:pt x="284141" y="371668"/>
                  </a:lnTo>
                  <a:lnTo>
                    <a:pt x="287398" y="366418"/>
                  </a:lnTo>
                  <a:lnTo>
                    <a:pt x="159722" y="366418"/>
                  </a:lnTo>
                  <a:lnTo>
                    <a:pt x="111865" y="359484"/>
                  </a:lnTo>
                  <a:lnTo>
                    <a:pt x="79858" y="338302"/>
                  </a:lnTo>
                  <a:lnTo>
                    <a:pt x="61945" y="302299"/>
                  </a:lnTo>
                  <a:lnTo>
                    <a:pt x="56364" y="250903"/>
                  </a:lnTo>
                  <a:lnTo>
                    <a:pt x="56364" y="7183"/>
                  </a:lnTo>
                  <a:close/>
                </a:path>
                <a:path w="1786254" h="415290">
                  <a:moveTo>
                    <a:pt x="321100" y="7183"/>
                  </a:moveTo>
                  <a:lnTo>
                    <a:pt x="264724" y="7183"/>
                  </a:lnTo>
                  <a:lnTo>
                    <a:pt x="264724" y="244840"/>
                  </a:lnTo>
                  <a:lnTo>
                    <a:pt x="259121" y="297170"/>
                  </a:lnTo>
                  <a:lnTo>
                    <a:pt x="241033" y="335259"/>
                  </a:lnTo>
                  <a:lnTo>
                    <a:pt x="208539" y="358532"/>
                  </a:lnTo>
                  <a:lnTo>
                    <a:pt x="159722" y="366418"/>
                  </a:lnTo>
                  <a:lnTo>
                    <a:pt x="287398" y="366418"/>
                  </a:lnTo>
                  <a:lnTo>
                    <a:pt x="305175" y="337760"/>
                  </a:lnTo>
                  <a:lnTo>
                    <a:pt x="317244" y="294028"/>
                  </a:lnTo>
                  <a:lnTo>
                    <a:pt x="321100" y="240411"/>
                  </a:lnTo>
                  <a:lnTo>
                    <a:pt x="321100" y="7183"/>
                  </a:lnTo>
                  <a:close/>
                </a:path>
                <a:path w="1786254" h="415290">
                  <a:moveTo>
                    <a:pt x="449860" y="7183"/>
                  </a:moveTo>
                  <a:lnTo>
                    <a:pt x="393485" y="7183"/>
                  </a:lnTo>
                  <a:lnTo>
                    <a:pt x="393485" y="407861"/>
                  </a:lnTo>
                  <a:lnTo>
                    <a:pt x="449860" y="407861"/>
                  </a:lnTo>
                  <a:lnTo>
                    <a:pt x="449860" y="281855"/>
                  </a:lnTo>
                  <a:lnTo>
                    <a:pt x="512874" y="212223"/>
                  </a:lnTo>
                  <a:lnTo>
                    <a:pt x="580177" y="212223"/>
                  </a:lnTo>
                  <a:lnTo>
                    <a:pt x="577840" y="208904"/>
                  </a:lnTo>
                  <a:lnTo>
                    <a:pt x="449860" y="208904"/>
                  </a:lnTo>
                  <a:lnTo>
                    <a:pt x="449860" y="7183"/>
                  </a:lnTo>
                  <a:close/>
                </a:path>
                <a:path w="1786254" h="415290">
                  <a:moveTo>
                    <a:pt x="580177" y="212223"/>
                  </a:moveTo>
                  <a:lnTo>
                    <a:pt x="512874" y="212223"/>
                  </a:lnTo>
                  <a:lnTo>
                    <a:pt x="650482" y="407861"/>
                  </a:lnTo>
                  <a:lnTo>
                    <a:pt x="717915" y="407861"/>
                  </a:lnTo>
                  <a:lnTo>
                    <a:pt x="580177" y="212223"/>
                  </a:lnTo>
                  <a:close/>
                </a:path>
                <a:path w="1786254" h="415290">
                  <a:moveTo>
                    <a:pt x="700784" y="7183"/>
                  </a:moveTo>
                  <a:lnTo>
                    <a:pt x="630588" y="7183"/>
                  </a:lnTo>
                  <a:lnTo>
                    <a:pt x="449860" y="208904"/>
                  </a:lnTo>
                  <a:lnTo>
                    <a:pt x="577840" y="208904"/>
                  </a:lnTo>
                  <a:lnTo>
                    <a:pt x="550998" y="170780"/>
                  </a:lnTo>
                  <a:lnTo>
                    <a:pt x="700784" y="7183"/>
                  </a:lnTo>
                  <a:close/>
                </a:path>
                <a:path w="1786254" h="415290">
                  <a:moveTo>
                    <a:pt x="906359" y="0"/>
                  </a:moveTo>
                  <a:lnTo>
                    <a:pt x="860544" y="4952"/>
                  </a:lnTo>
                  <a:lnTo>
                    <a:pt x="820133" y="19321"/>
                  </a:lnTo>
                  <a:lnTo>
                    <a:pt x="785725" y="42372"/>
                  </a:lnTo>
                  <a:lnTo>
                    <a:pt x="757919" y="73369"/>
                  </a:lnTo>
                  <a:lnTo>
                    <a:pt x="737316" y="111579"/>
                  </a:lnTo>
                  <a:lnTo>
                    <a:pt x="724514" y="156265"/>
                  </a:lnTo>
                  <a:lnTo>
                    <a:pt x="720114" y="206695"/>
                  </a:lnTo>
                  <a:lnTo>
                    <a:pt x="724153" y="256521"/>
                  </a:lnTo>
                  <a:lnTo>
                    <a:pt x="736051" y="301175"/>
                  </a:lnTo>
                  <a:lnTo>
                    <a:pt x="755481" y="339748"/>
                  </a:lnTo>
                  <a:lnTo>
                    <a:pt x="782113" y="371332"/>
                  </a:lnTo>
                  <a:lnTo>
                    <a:pt x="815619" y="395016"/>
                  </a:lnTo>
                  <a:lnTo>
                    <a:pt x="855671" y="409894"/>
                  </a:lnTo>
                  <a:lnTo>
                    <a:pt x="901941" y="415055"/>
                  </a:lnTo>
                  <a:lnTo>
                    <a:pt x="951607" y="409519"/>
                  </a:lnTo>
                  <a:lnTo>
                    <a:pt x="995412" y="393053"/>
                  </a:lnTo>
                  <a:lnTo>
                    <a:pt x="1029522" y="367528"/>
                  </a:lnTo>
                  <a:lnTo>
                    <a:pt x="905249" y="367528"/>
                  </a:lnTo>
                  <a:lnTo>
                    <a:pt x="863324" y="360564"/>
                  </a:lnTo>
                  <a:lnTo>
                    <a:pt x="828083" y="340202"/>
                  </a:lnTo>
                  <a:lnTo>
                    <a:pt x="801039" y="307239"/>
                  </a:lnTo>
                  <a:lnTo>
                    <a:pt x="783703" y="262472"/>
                  </a:lnTo>
                  <a:lnTo>
                    <a:pt x="777588" y="206695"/>
                  </a:lnTo>
                  <a:lnTo>
                    <a:pt x="783902" y="150243"/>
                  </a:lnTo>
                  <a:lnTo>
                    <a:pt x="801569" y="105782"/>
                  </a:lnTo>
                  <a:lnTo>
                    <a:pt x="828680" y="73630"/>
                  </a:lnTo>
                  <a:lnTo>
                    <a:pt x="863326" y="54106"/>
                  </a:lnTo>
                  <a:lnTo>
                    <a:pt x="903595" y="47527"/>
                  </a:lnTo>
                  <a:lnTo>
                    <a:pt x="1027140" y="47527"/>
                  </a:lnTo>
                  <a:lnTo>
                    <a:pt x="995829" y="22797"/>
                  </a:lnTo>
                  <a:lnTo>
                    <a:pt x="953853" y="5801"/>
                  </a:lnTo>
                  <a:lnTo>
                    <a:pt x="906359" y="0"/>
                  </a:lnTo>
                  <a:close/>
                </a:path>
                <a:path w="1786254" h="415290">
                  <a:moveTo>
                    <a:pt x="1075475" y="280200"/>
                  </a:moveTo>
                  <a:lnTo>
                    <a:pt x="1020754" y="280200"/>
                  </a:lnTo>
                  <a:lnTo>
                    <a:pt x="1006364" y="315526"/>
                  </a:lnTo>
                  <a:lnTo>
                    <a:pt x="982281" y="343136"/>
                  </a:lnTo>
                  <a:lnTo>
                    <a:pt x="948559" y="361110"/>
                  </a:lnTo>
                  <a:lnTo>
                    <a:pt x="905249" y="367528"/>
                  </a:lnTo>
                  <a:lnTo>
                    <a:pt x="1029522" y="367528"/>
                  </a:lnTo>
                  <a:lnTo>
                    <a:pt x="1031738" y="365869"/>
                  </a:lnTo>
                  <a:lnTo>
                    <a:pt x="1058965" y="328181"/>
                  </a:lnTo>
                  <a:lnTo>
                    <a:pt x="1075475" y="280200"/>
                  </a:lnTo>
                  <a:close/>
                </a:path>
                <a:path w="1786254" h="415290">
                  <a:moveTo>
                    <a:pt x="1027140" y="47527"/>
                  </a:moveTo>
                  <a:lnTo>
                    <a:pt x="903595" y="47527"/>
                  </a:lnTo>
                  <a:lnTo>
                    <a:pt x="946750" y="54106"/>
                  </a:lnTo>
                  <a:lnTo>
                    <a:pt x="980553" y="72330"/>
                  </a:lnTo>
                  <a:lnTo>
                    <a:pt x="1004627" y="99988"/>
                  </a:lnTo>
                  <a:lnTo>
                    <a:pt x="1018544" y="134844"/>
                  </a:lnTo>
                  <a:lnTo>
                    <a:pt x="1073265" y="134844"/>
                  </a:lnTo>
                  <a:lnTo>
                    <a:pt x="1057074" y="87929"/>
                  </a:lnTo>
                  <a:lnTo>
                    <a:pt x="1030749" y="50377"/>
                  </a:lnTo>
                  <a:lnTo>
                    <a:pt x="1027140" y="47527"/>
                  </a:lnTo>
                  <a:close/>
                </a:path>
                <a:path w="1786254" h="415290">
                  <a:moveTo>
                    <a:pt x="1401548" y="7183"/>
                  </a:moveTo>
                  <a:lnTo>
                    <a:pt x="1129640" y="7183"/>
                  </a:lnTo>
                  <a:lnTo>
                    <a:pt x="1129640" y="407861"/>
                  </a:lnTo>
                  <a:lnTo>
                    <a:pt x="1401548" y="407861"/>
                  </a:lnTo>
                  <a:lnTo>
                    <a:pt x="1401548" y="359235"/>
                  </a:lnTo>
                  <a:lnTo>
                    <a:pt x="1186005" y="359235"/>
                  </a:lnTo>
                  <a:lnTo>
                    <a:pt x="1186005" y="226035"/>
                  </a:lnTo>
                  <a:lnTo>
                    <a:pt x="1388837" y="226035"/>
                  </a:lnTo>
                  <a:lnTo>
                    <a:pt x="1388837" y="177408"/>
                  </a:lnTo>
                  <a:lnTo>
                    <a:pt x="1186005" y="177408"/>
                  </a:lnTo>
                  <a:lnTo>
                    <a:pt x="1186005" y="55820"/>
                  </a:lnTo>
                  <a:lnTo>
                    <a:pt x="1401548" y="55820"/>
                  </a:lnTo>
                  <a:lnTo>
                    <a:pt x="1401548" y="7183"/>
                  </a:lnTo>
                  <a:close/>
                </a:path>
                <a:path w="1786254" h="415290">
                  <a:moveTo>
                    <a:pt x="1519262" y="7183"/>
                  </a:moveTo>
                  <a:lnTo>
                    <a:pt x="1462887" y="7183"/>
                  </a:lnTo>
                  <a:lnTo>
                    <a:pt x="1462887" y="407861"/>
                  </a:lnTo>
                  <a:lnTo>
                    <a:pt x="1519262" y="407861"/>
                  </a:lnTo>
                  <a:lnTo>
                    <a:pt x="1519262" y="226035"/>
                  </a:lnTo>
                  <a:lnTo>
                    <a:pt x="1786196" y="226035"/>
                  </a:lnTo>
                  <a:lnTo>
                    <a:pt x="1786196" y="177408"/>
                  </a:lnTo>
                  <a:lnTo>
                    <a:pt x="1519262" y="177408"/>
                  </a:lnTo>
                  <a:lnTo>
                    <a:pt x="1519262" y="7183"/>
                  </a:lnTo>
                  <a:close/>
                </a:path>
                <a:path w="1786254" h="415290">
                  <a:moveTo>
                    <a:pt x="1786196" y="226035"/>
                  </a:moveTo>
                  <a:lnTo>
                    <a:pt x="1729832" y="226035"/>
                  </a:lnTo>
                  <a:lnTo>
                    <a:pt x="1729832" y="407861"/>
                  </a:lnTo>
                  <a:lnTo>
                    <a:pt x="1786196" y="407861"/>
                  </a:lnTo>
                  <a:lnTo>
                    <a:pt x="1786196" y="226035"/>
                  </a:lnTo>
                  <a:close/>
                </a:path>
                <a:path w="1786254" h="415290">
                  <a:moveTo>
                    <a:pt x="1786196" y="7183"/>
                  </a:moveTo>
                  <a:lnTo>
                    <a:pt x="1729832" y="7183"/>
                  </a:lnTo>
                  <a:lnTo>
                    <a:pt x="1729832" y="177408"/>
                  </a:lnTo>
                  <a:lnTo>
                    <a:pt x="1786196" y="177408"/>
                  </a:lnTo>
                  <a:lnTo>
                    <a:pt x="1786196" y="718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42" name="object 6">
              <a:extLst>
                <a:ext uri="{FF2B5EF4-FFF2-40B4-BE49-F238E27FC236}">
                  <a16:creationId xmlns:a16="http://schemas.microsoft.com/office/drawing/2014/main" id="{D78B6100-9F62-4F3E-F21F-F628279F24AB}"/>
                </a:ext>
              </a:extLst>
            </p:cNvPr>
            <p:cNvPicPr/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624307" y="5867945"/>
              <a:ext cx="54739" cy="54745"/>
            </a:xfrm>
            <a:prstGeom prst="rect">
              <a:avLst/>
            </a:prstGeom>
          </p:spPr>
        </p:pic>
        <p:pic>
          <p:nvPicPr>
            <p:cNvPr id="44" name="object 7">
              <a:extLst>
                <a:ext uri="{FF2B5EF4-FFF2-40B4-BE49-F238E27FC236}">
                  <a16:creationId xmlns:a16="http://schemas.microsoft.com/office/drawing/2014/main" id="{39EAA837-C94F-5A08-28F0-1CAD45CC9468}"/>
                </a:ext>
              </a:extLst>
            </p:cNvPr>
            <p:cNvPicPr/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624307" y="6226766"/>
              <a:ext cx="54739" cy="54745"/>
            </a:xfrm>
            <a:prstGeom prst="rect">
              <a:avLst/>
            </a:prstGeom>
          </p:spPr>
        </p:pic>
        <p:pic>
          <p:nvPicPr>
            <p:cNvPr id="46" name="object 8">
              <a:extLst>
                <a:ext uri="{FF2B5EF4-FFF2-40B4-BE49-F238E27FC236}">
                  <a16:creationId xmlns:a16="http://schemas.microsoft.com/office/drawing/2014/main" id="{18C25E71-E7CF-DA27-2970-16A54D3FD377}"/>
                </a:ext>
              </a:extLst>
            </p:cNvPr>
            <p:cNvPicPr/>
            <p:nvPr userDrawn="1"/>
          </p:nvPicPr>
          <p:blipFill>
            <a:blip r:embed="rId5" cstate="print"/>
            <a:stretch>
              <a:fillRect/>
            </a:stretch>
          </p:blipFill>
          <p:spPr>
            <a:xfrm>
              <a:off x="444893" y="6047359"/>
              <a:ext cx="54745" cy="54739"/>
            </a:xfrm>
            <a:prstGeom prst="rect">
              <a:avLst/>
            </a:prstGeom>
          </p:spPr>
        </p:pic>
        <p:pic>
          <p:nvPicPr>
            <p:cNvPr id="47" name="object 9">
              <a:extLst>
                <a:ext uri="{FF2B5EF4-FFF2-40B4-BE49-F238E27FC236}">
                  <a16:creationId xmlns:a16="http://schemas.microsoft.com/office/drawing/2014/main" id="{B42A8320-CFDA-BD69-8CAE-5E91EFC6FD71}"/>
                </a:ext>
              </a:extLst>
            </p:cNvPr>
            <p:cNvPicPr/>
            <p:nvPr userDrawn="1"/>
          </p:nvPicPr>
          <p:blipFill>
            <a:blip r:embed="rId6" cstate="print"/>
            <a:stretch>
              <a:fillRect/>
            </a:stretch>
          </p:blipFill>
          <p:spPr>
            <a:xfrm>
              <a:off x="803715" y="6047359"/>
              <a:ext cx="54745" cy="54739"/>
            </a:xfrm>
            <a:prstGeom prst="rect">
              <a:avLst/>
            </a:prstGeom>
          </p:spPr>
        </p:pic>
        <p:pic>
          <p:nvPicPr>
            <p:cNvPr id="48" name="object 10">
              <a:extLst>
                <a:ext uri="{FF2B5EF4-FFF2-40B4-BE49-F238E27FC236}">
                  <a16:creationId xmlns:a16="http://schemas.microsoft.com/office/drawing/2014/main" id="{86E01A7E-1E35-E9FE-C408-E69F88FB57F3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631149" y="6157802"/>
              <a:ext cx="41056" cy="41056"/>
            </a:xfrm>
            <a:prstGeom prst="rect">
              <a:avLst/>
            </a:prstGeom>
          </p:spPr>
        </p:pic>
        <p:pic>
          <p:nvPicPr>
            <p:cNvPr id="49" name="object 11">
              <a:extLst>
                <a:ext uri="{FF2B5EF4-FFF2-40B4-BE49-F238E27FC236}">
                  <a16:creationId xmlns:a16="http://schemas.microsoft.com/office/drawing/2014/main" id="{AB3D0445-E7A9-BF39-0E1E-F3B7C106E7DA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631148" y="5950597"/>
              <a:ext cx="41056" cy="41056"/>
            </a:xfrm>
            <a:prstGeom prst="rect">
              <a:avLst/>
            </a:prstGeom>
          </p:spPr>
        </p:pic>
        <p:pic>
          <p:nvPicPr>
            <p:cNvPr id="50" name="object 12">
              <a:extLst>
                <a:ext uri="{FF2B5EF4-FFF2-40B4-BE49-F238E27FC236}">
                  <a16:creationId xmlns:a16="http://schemas.microsoft.com/office/drawing/2014/main" id="{AAEAE0DF-6ADD-64E5-2BA0-51DC4EC103CA}"/>
                </a:ext>
              </a:extLst>
            </p:cNvPr>
            <p:cNvPicPr/>
            <p:nvPr userDrawn="1"/>
          </p:nvPicPr>
          <p:blipFill>
            <a:blip r:embed="rId8" cstate="print"/>
            <a:stretch>
              <a:fillRect/>
            </a:stretch>
          </p:blipFill>
          <p:spPr>
            <a:xfrm>
              <a:off x="527546" y="6054201"/>
              <a:ext cx="41056" cy="41056"/>
            </a:xfrm>
            <a:prstGeom prst="rect">
              <a:avLst/>
            </a:prstGeom>
          </p:spPr>
        </p:pic>
        <p:pic>
          <p:nvPicPr>
            <p:cNvPr id="51" name="object 13">
              <a:extLst>
                <a:ext uri="{FF2B5EF4-FFF2-40B4-BE49-F238E27FC236}">
                  <a16:creationId xmlns:a16="http://schemas.microsoft.com/office/drawing/2014/main" id="{B06603EE-0C70-9947-C227-F41BF915CB75}"/>
                </a:ext>
              </a:extLst>
            </p:cNvPr>
            <p:cNvPicPr/>
            <p:nvPr userDrawn="1"/>
          </p:nvPicPr>
          <p:blipFill>
            <a:blip r:embed="rId8" cstate="print"/>
            <a:stretch>
              <a:fillRect/>
            </a:stretch>
          </p:blipFill>
          <p:spPr>
            <a:xfrm>
              <a:off x="734750" y="6054199"/>
              <a:ext cx="41056" cy="41056"/>
            </a:xfrm>
            <a:prstGeom prst="rect">
              <a:avLst/>
            </a:prstGeom>
          </p:spPr>
        </p:pic>
        <p:sp>
          <p:nvSpPr>
            <p:cNvPr id="52" name="object 14">
              <a:extLst>
                <a:ext uri="{FF2B5EF4-FFF2-40B4-BE49-F238E27FC236}">
                  <a16:creationId xmlns:a16="http://schemas.microsoft.com/office/drawing/2014/main" id="{842D6F75-6495-2782-797D-374FB6A388FF}"/>
                </a:ext>
              </a:extLst>
            </p:cNvPr>
            <p:cNvSpPr/>
            <p:nvPr userDrawn="1"/>
          </p:nvSpPr>
          <p:spPr>
            <a:xfrm>
              <a:off x="469129" y="5892192"/>
              <a:ext cx="365426" cy="365426"/>
            </a:xfrm>
            <a:custGeom>
              <a:avLst/>
              <a:gdLst/>
              <a:ahLst/>
              <a:cxnLst/>
              <a:rect l="l" t="t" r="r" b="b"/>
              <a:pathLst>
                <a:path w="602615" h="602615">
                  <a:moveTo>
                    <a:pt x="89611" y="443382"/>
                  </a:moveTo>
                  <a:lnTo>
                    <a:pt x="83896" y="426389"/>
                  </a:lnTo>
                  <a:lnTo>
                    <a:pt x="72034" y="412940"/>
                  </a:lnTo>
                  <a:lnTo>
                    <a:pt x="56489" y="405358"/>
                  </a:lnTo>
                  <a:lnTo>
                    <a:pt x="39230" y="404152"/>
                  </a:lnTo>
                  <a:lnTo>
                    <a:pt x="22237" y="409867"/>
                  </a:lnTo>
                  <a:lnTo>
                    <a:pt x="8801" y="421716"/>
                  </a:lnTo>
                  <a:lnTo>
                    <a:pt x="1206" y="437261"/>
                  </a:lnTo>
                  <a:lnTo>
                    <a:pt x="0" y="454533"/>
                  </a:lnTo>
                  <a:lnTo>
                    <a:pt x="5715" y="471512"/>
                  </a:lnTo>
                  <a:lnTo>
                    <a:pt x="17576" y="484962"/>
                  </a:lnTo>
                  <a:lnTo>
                    <a:pt x="33121" y="492544"/>
                  </a:lnTo>
                  <a:lnTo>
                    <a:pt x="50393" y="493750"/>
                  </a:lnTo>
                  <a:lnTo>
                    <a:pt x="67373" y="488035"/>
                  </a:lnTo>
                  <a:lnTo>
                    <a:pt x="80822" y="476186"/>
                  </a:lnTo>
                  <a:lnTo>
                    <a:pt x="88404" y="460641"/>
                  </a:lnTo>
                  <a:lnTo>
                    <a:pt x="89611" y="443382"/>
                  </a:lnTo>
                  <a:close/>
                </a:path>
                <a:path w="602615" h="602615">
                  <a:moveTo>
                    <a:pt x="89611" y="158661"/>
                  </a:moveTo>
                  <a:lnTo>
                    <a:pt x="88404" y="141401"/>
                  </a:lnTo>
                  <a:lnTo>
                    <a:pt x="80822" y="125857"/>
                  </a:lnTo>
                  <a:lnTo>
                    <a:pt x="67373" y="114007"/>
                  </a:lnTo>
                  <a:lnTo>
                    <a:pt x="50380" y="108292"/>
                  </a:lnTo>
                  <a:lnTo>
                    <a:pt x="33121" y="109499"/>
                  </a:lnTo>
                  <a:lnTo>
                    <a:pt x="17576" y="117081"/>
                  </a:lnTo>
                  <a:lnTo>
                    <a:pt x="5715" y="130530"/>
                  </a:lnTo>
                  <a:lnTo>
                    <a:pt x="0" y="147510"/>
                  </a:lnTo>
                  <a:lnTo>
                    <a:pt x="1206" y="164782"/>
                  </a:lnTo>
                  <a:lnTo>
                    <a:pt x="8801" y="180327"/>
                  </a:lnTo>
                  <a:lnTo>
                    <a:pt x="22237" y="192176"/>
                  </a:lnTo>
                  <a:lnTo>
                    <a:pt x="39217" y="197891"/>
                  </a:lnTo>
                  <a:lnTo>
                    <a:pt x="56489" y="196684"/>
                  </a:lnTo>
                  <a:lnTo>
                    <a:pt x="72034" y="189103"/>
                  </a:lnTo>
                  <a:lnTo>
                    <a:pt x="83896" y="175653"/>
                  </a:lnTo>
                  <a:lnTo>
                    <a:pt x="89611" y="158661"/>
                  </a:lnTo>
                  <a:close/>
                </a:path>
                <a:path w="602615" h="602615">
                  <a:moveTo>
                    <a:pt x="197904" y="562825"/>
                  </a:moveTo>
                  <a:lnTo>
                    <a:pt x="196697" y="545566"/>
                  </a:lnTo>
                  <a:lnTo>
                    <a:pt x="189103" y="530009"/>
                  </a:lnTo>
                  <a:lnTo>
                    <a:pt x="175666" y="518160"/>
                  </a:lnTo>
                  <a:lnTo>
                    <a:pt x="158673" y="512445"/>
                  </a:lnTo>
                  <a:lnTo>
                    <a:pt x="141414" y="513651"/>
                  </a:lnTo>
                  <a:lnTo>
                    <a:pt x="125869" y="521233"/>
                  </a:lnTo>
                  <a:lnTo>
                    <a:pt x="114007" y="534682"/>
                  </a:lnTo>
                  <a:lnTo>
                    <a:pt x="108305" y="551662"/>
                  </a:lnTo>
                  <a:lnTo>
                    <a:pt x="109499" y="568921"/>
                  </a:lnTo>
                  <a:lnTo>
                    <a:pt x="117094" y="584479"/>
                  </a:lnTo>
                  <a:lnTo>
                    <a:pt x="130530" y="596328"/>
                  </a:lnTo>
                  <a:lnTo>
                    <a:pt x="147523" y="602043"/>
                  </a:lnTo>
                  <a:lnTo>
                    <a:pt x="164782" y="600837"/>
                  </a:lnTo>
                  <a:lnTo>
                    <a:pt x="180327" y="593255"/>
                  </a:lnTo>
                  <a:lnTo>
                    <a:pt x="192189" y="579818"/>
                  </a:lnTo>
                  <a:lnTo>
                    <a:pt x="197904" y="562825"/>
                  </a:lnTo>
                  <a:close/>
                </a:path>
                <a:path w="602615" h="602615">
                  <a:moveTo>
                    <a:pt x="197904" y="39217"/>
                  </a:moveTo>
                  <a:lnTo>
                    <a:pt x="192189" y="22225"/>
                  </a:lnTo>
                  <a:lnTo>
                    <a:pt x="180327" y="8788"/>
                  </a:lnTo>
                  <a:lnTo>
                    <a:pt x="164782" y="1206"/>
                  </a:lnTo>
                  <a:lnTo>
                    <a:pt x="147523" y="0"/>
                  </a:lnTo>
                  <a:lnTo>
                    <a:pt x="130530" y="5702"/>
                  </a:lnTo>
                  <a:lnTo>
                    <a:pt x="117094" y="17564"/>
                  </a:lnTo>
                  <a:lnTo>
                    <a:pt x="109499" y="33121"/>
                  </a:lnTo>
                  <a:lnTo>
                    <a:pt x="108305" y="50380"/>
                  </a:lnTo>
                  <a:lnTo>
                    <a:pt x="114007" y="67373"/>
                  </a:lnTo>
                  <a:lnTo>
                    <a:pt x="125869" y="80810"/>
                  </a:lnTo>
                  <a:lnTo>
                    <a:pt x="141414" y="88392"/>
                  </a:lnTo>
                  <a:lnTo>
                    <a:pt x="158673" y="89598"/>
                  </a:lnTo>
                  <a:lnTo>
                    <a:pt x="175666" y="83883"/>
                  </a:lnTo>
                  <a:lnTo>
                    <a:pt x="189103" y="72034"/>
                  </a:lnTo>
                  <a:lnTo>
                    <a:pt x="196697" y="56476"/>
                  </a:lnTo>
                  <a:lnTo>
                    <a:pt x="197904" y="39217"/>
                  </a:lnTo>
                  <a:close/>
                </a:path>
                <a:path w="602615" h="602615">
                  <a:moveTo>
                    <a:pt x="214071" y="421830"/>
                  </a:moveTo>
                  <a:lnTo>
                    <a:pt x="211594" y="409092"/>
                  </a:lnTo>
                  <a:lnTo>
                    <a:pt x="204152" y="397891"/>
                  </a:lnTo>
                  <a:lnTo>
                    <a:pt x="192963" y="390461"/>
                  </a:lnTo>
                  <a:lnTo>
                    <a:pt x="180225" y="387985"/>
                  </a:lnTo>
                  <a:lnTo>
                    <a:pt x="167487" y="390461"/>
                  </a:lnTo>
                  <a:lnTo>
                    <a:pt x="156286" y="397891"/>
                  </a:lnTo>
                  <a:lnTo>
                    <a:pt x="148844" y="409092"/>
                  </a:lnTo>
                  <a:lnTo>
                    <a:pt x="146367" y="421830"/>
                  </a:lnTo>
                  <a:lnTo>
                    <a:pt x="148844" y="434568"/>
                  </a:lnTo>
                  <a:lnTo>
                    <a:pt x="156286" y="445770"/>
                  </a:lnTo>
                  <a:lnTo>
                    <a:pt x="167487" y="453199"/>
                  </a:lnTo>
                  <a:lnTo>
                    <a:pt x="180225" y="455688"/>
                  </a:lnTo>
                  <a:lnTo>
                    <a:pt x="192963" y="453199"/>
                  </a:lnTo>
                  <a:lnTo>
                    <a:pt x="204152" y="445770"/>
                  </a:lnTo>
                  <a:lnTo>
                    <a:pt x="211594" y="434568"/>
                  </a:lnTo>
                  <a:lnTo>
                    <a:pt x="214071" y="421830"/>
                  </a:lnTo>
                  <a:close/>
                </a:path>
                <a:path w="602615" h="602615">
                  <a:moveTo>
                    <a:pt x="214071" y="180213"/>
                  </a:moveTo>
                  <a:lnTo>
                    <a:pt x="211594" y="167474"/>
                  </a:lnTo>
                  <a:lnTo>
                    <a:pt x="204152" y="156273"/>
                  </a:lnTo>
                  <a:lnTo>
                    <a:pt x="192963" y="148844"/>
                  </a:lnTo>
                  <a:lnTo>
                    <a:pt x="180225" y="146367"/>
                  </a:lnTo>
                  <a:lnTo>
                    <a:pt x="167487" y="148844"/>
                  </a:lnTo>
                  <a:lnTo>
                    <a:pt x="156286" y="156273"/>
                  </a:lnTo>
                  <a:lnTo>
                    <a:pt x="148844" y="167474"/>
                  </a:lnTo>
                  <a:lnTo>
                    <a:pt x="146367" y="180213"/>
                  </a:lnTo>
                  <a:lnTo>
                    <a:pt x="148844" y="192951"/>
                  </a:lnTo>
                  <a:lnTo>
                    <a:pt x="156286" y="204152"/>
                  </a:lnTo>
                  <a:lnTo>
                    <a:pt x="167487" y="211594"/>
                  </a:lnTo>
                  <a:lnTo>
                    <a:pt x="180225" y="214071"/>
                  </a:lnTo>
                  <a:lnTo>
                    <a:pt x="192963" y="211594"/>
                  </a:lnTo>
                  <a:lnTo>
                    <a:pt x="204152" y="204152"/>
                  </a:lnTo>
                  <a:lnTo>
                    <a:pt x="211594" y="192951"/>
                  </a:lnTo>
                  <a:lnTo>
                    <a:pt x="214071" y="180213"/>
                  </a:lnTo>
                  <a:close/>
                </a:path>
                <a:path w="602615" h="602615">
                  <a:moveTo>
                    <a:pt x="257619" y="334454"/>
                  </a:moveTo>
                  <a:lnTo>
                    <a:pt x="255270" y="327444"/>
                  </a:lnTo>
                  <a:lnTo>
                    <a:pt x="250367" y="321894"/>
                  </a:lnTo>
                  <a:lnTo>
                    <a:pt x="243954" y="318770"/>
                  </a:lnTo>
                  <a:lnTo>
                    <a:pt x="236842" y="318274"/>
                  </a:lnTo>
                  <a:lnTo>
                    <a:pt x="229831" y="320624"/>
                  </a:lnTo>
                  <a:lnTo>
                    <a:pt x="224282" y="325513"/>
                  </a:lnTo>
                  <a:lnTo>
                    <a:pt x="221157" y="331927"/>
                  </a:lnTo>
                  <a:lnTo>
                    <a:pt x="220662" y="339051"/>
                  </a:lnTo>
                  <a:lnTo>
                    <a:pt x="223012" y="346062"/>
                  </a:lnTo>
                  <a:lnTo>
                    <a:pt x="227901" y="351612"/>
                  </a:lnTo>
                  <a:lnTo>
                    <a:pt x="234327" y="354736"/>
                  </a:lnTo>
                  <a:lnTo>
                    <a:pt x="241439" y="355231"/>
                  </a:lnTo>
                  <a:lnTo>
                    <a:pt x="248450" y="352882"/>
                  </a:lnTo>
                  <a:lnTo>
                    <a:pt x="253987" y="347992"/>
                  </a:lnTo>
                  <a:lnTo>
                    <a:pt x="257124" y="341566"/>
                  </a:lnTo>
                  <a:lnTo>
                    <a:pt x="257619" y="334454"/>
                  </a:lnTo>
                  <a:close/>
                </a:path>
                <a:path w="602615" h="602615">
                  <a:moveTo>
                    <a:pt x="257619" y="267589"/>
                  </a:moveTo>
                  <a:lnTo>
                    <a:pt x="257124" y="260464"/>
                  </a:lnTo>
                  <a:lnTo>
                    <a:pt x="253987" y="254050"/>
                  </a:lnTo>
                  <a:lnTo>
                    <a:pt x="248450" y="249161"/>
                  </a:lnTo>
                  <a:lnTo>
                    <a:pt x="241439" y="246811"/>
                  </a:lnTo>
                  <a:lnTo>
                    <a:pt x="234327" y="247307"/>
                  </a:lnTo>
                  <a:lnTo>
                    <a:pt x="227901" y="250431"/>
                  </a:lnTo>
                  <a:lnTo>
                    <a:pt x="223012" y="255981"/>
                  </a:lnTo>
                  <a:lnTo>
                    <a:pt x="220662" y="262991"/>
                  </a:lnTo>
                  <a:lnTo>
                    <a:pt x="221157" y="270103"/>
                  </a:lnTo>
                  <a:lnTo>
                    <a:pt x="224294" y="276529"/>
                  </a:lnTo>
                  <a:lnTo>
                    <a:pt x="229831" y="281419"/>
                  </a:lnTo>
                  <a:lnTo>
                    <a:pt x="236842" y="283768"/>
                  </a:lnTo>
                  <a:lnTo>
                    <a:pt x="243954" y="283273"/>
                  </a:lnTo>
                  <a:lnTo>
                    <a:pt x="250367" y="280136"/>
                  </a:lnTo>
                  <a:lnTo>
                    <a:pt x="255270" y="274599"/>
                  </a:lnTo>
                  <a:lnTo>
                    <a:pt x="257619" y="267589"/>
                  </a:lnTo>
                  <a:close/>
                </a:path>
                <a:path w="602615" h="602615">
                  <a:moveTo>
                    <a:pt x="319646" y="372491"/>
                  </a:moveTo>
                  <a:lnTo>
                    <a:pt x="318185" y="365239"/>
                  </a:lnTo>
                  <a:lnTo>
                    <a:pt x="314198" y="359321"/>
                  </a:lnTo>
                  <a:lnTo>
                    <a:pt x="308279" y="355333"/>
                  </a:lnTo>
                  <a:lnTo>
                    <a:pt x="301028" y="353872"/>
                  </a:lnTo>
                  <a:lnTo>
                    <a:pt x="293776" y="355333"/>
                  </a:lnTo>
                  <a:lnTo>
                    <a:pt x="287858" y="359321"/>
                  </a:lnTo>
                  <a:lnTo>
                    <a:pt x="283870" y="365239"/>
                  </a:lnTo>
                  <a:lnTo>
                    <a:pt x="282409" y="372491"/>
                  </a:lnTo>
                  <a:lnTo>
                    <a:pt x="283870" y="379730"/>
                  </a:lnTo>
                  <a:lnTo>
                    <a:pt x="287858" y="385648"/>
                  </a:lnTo>
                  <a:lnTo>
                    <a:pt x="293776" y="389636"/>
                  </a:lnTo>
                  <a:lnTo>
                    <a:pt x="301028" y="391096"/>
                  </a:lnTo>
                  <a:lnTo>
                    <a:pt x="308279" y="389636"/>
                  </a:lnTo>
                  <a:lnTo>
                    <a:pt x="314198" y="385648"/>
                  </a:lnTo>
                  <a:lnTo>
                    <a:pt x="318185" y="379730"/>
                  </a:lnTo>
                  <a:lnTo>
                    <a:pt x="319646" y="372491"/>
                  </a:lnTo>
                  <a:close/>
                </a:path>
                <a:path w="602615" h="602615">
                  <a:moveTo>
                    <a:pt x="319646" y="229552"/>
                  </a:moveTo>
                  <a:lnTo>
                    <a:pt x="318185" y="222313"/>
                  </a:lnTo>
                  <a:lnTo>
                    <a:pt x="314198" y="216395"/>
                  </a:lnTo>
                  <a:lnTo>
                    <a:pt x="308279" y="212407"/>
                  </a:lnTo>
                  <a:lnTo>
                    <a:pt x="301028" y="210934"/>
                  </a:lnTo>
                  <a:lnTo>
                    <a:pt x="293789" y="212407"/>
                  </a:lnTo>
                  <a:lnTo>
                    <a:pt x="287870" y="216395"/>
                  </a:lnTo>
                  <a:lnTo>
                    <a:pt x="283870" y="222313"/>
                  </a:lnTo>
                  <a:lnTo>
                    <a:pt x="282409" y="229552"/>
                  </a:lnTo>
                  <a:lnTo>
                    <a:pt x="283870" y="236804"/>
                  </a:lnTo>
                  <a:lnTo>
                    <a:pt x="287870" y="242722"/>
                  </a:lnTo>
                  <a:lnTo>
                    <a:pt x="293789" y="246710"/>
                  </a:lnTo>
                  <a:lnTo>
                    <a:pt x="301028" y="248170"/>
                  </a:lnTo>
                  <a:lnTo>
                    <a:pt x="308279" y="246710"/>
                  </a:lnTo>
                  <a:lnTo>
                    <a:pt x="314198" y="242722"/>
                  </a:lnTo>
                  <a:lnTo>
                    <a:pt x="318185" y="236804"/>
                  </a:lnTo>
                  <a:lnTo>
                    <a:pt x="319646" y="229552"/>
                  </a:lnTo>
                  <a:close/>
                </a:path>
                <a:path w="602615" h="602615">
                  <a:moveTo>
                    <a:pt x="381393" y="339051"/>
                  </a:moveTo>
                  <a:lnTo>
                    <a:pt x="380898" y="331939"/>
                  </a:lnTo>
                  <a:lnTo>
                    <a:pt x="377774" y="325513"/>
                  </a:lnTo>
                  <a:lnTo>
                    <a:pt x="372224" y="320624"/>
                  </a:lnTo>
                  <a:lnTo>
                    <a:pt x="365226" y="318274"/>
                  </a:lnTo>
                  <a:lnTo>
                    <a:pt x="358101" y="318770"/>
                  </a:lnTo>
                  <a:lnTo>
                    <a:pt x="351688" y="321906"/>
                  </a:lnTo>
                  <a:lnTo>
                    <a:pt x="346798" y="327444"/>
                  </a:lnTo>
                  <a:lnTo>
                    <a:pt x="344436" y="334454"/>
                  </a:lnTo>
                  <a:lnTo>
                    <a:pt x="344932" y="341579"/>
                  </a:lnTo>
                  <a:lnTo>
                    <a:pt x="348068" y="347992"/>
                  </a:lnTo>
                  <a:lnTo>
                    <a:pt x="353606" y="352882"/>
                  </a:lnTo>
                  <a:lnTo>
                    <a:pt x="360616" y="355231"/>
                  </a:lnTo>
                  <a:lnTo>
                    <a:pt x="367741" y="354736"/>
                  </a:lnTo>
                  <a:lnTo>
                    <a:pt x="374154" y="351612"/>
                  </a:lnTo>
                  <a:lnTo>
                    <a:pt x="379044" y="346062"/>
                  </a:lnTo>
                  <a:lnTo>
                    <a:pt x="381393" y="339051"/>
                  </a:lnTo>
                  <a:close/>
                </a:path>
                <a:path w="602615" h="602615">
                  <a:moveTo>
                    <a:pt x="381406" y="262991"/>
                  </a:moveTo>
                  <a:lnTo>
                    <a:pt x="379044" y="255981"/>
                  </a:lnTo>
                  <a:lnTo>
                    <a:pt x="374154" y="250431"/>
                  </a:lnTo>
                  <a:lnTo>
                    <a:pt x="367741" y="247307"/>
                  </a:lnTo>
                  <a:lnTo>
                    <a:pt x="360616" y="246811"/>
                  </a:lnTo>
                  <a:lnTo>
                    <a:pt x="353606" y="249161"/>
                  </a:lnTo>
                  <a:lnTo>
                    <a:pt x="348068" y="254050"/>
                  </a:lnTo>
                  <a:lnTo>
                    <a:pt x="344932" y="260464"/>
                  </a:lnTo>
                  <a:lnTo>
                    <a:pt x="344436" y="267589"/>
                  </a:lnTo>
                  <a:lnTo>
                    <a:pt x="346798" y="274599"/>
                  </a:lnTo>
                  <a:lnTo>
                    <a:pt x="351688" y="280149"/>
                  </a:lnTo>
                  <a:lnTo>
                    <a:pt x="358101" y="283273"/>
                  </a:lnTo>
                  <a:lnTo>
                    <a:pt x="365226" y="283768"/>
                  </a:lnTo>
                  <a:lnTo>
                    <a:pt x="372224" y="281406"/>
                  </a:lnTo>
                  <a:lnTo>
                    <a:pt x="377774" y="276517"/>
                  </a:lnTo>
                  <a:lnTo>
                    <a:pt x="380898" y="270103"/>
                  </a:lnTo>
                  <a:lnTo>
                    <a:pt x="381406" y="262991"/>
                  </a:lnTo>
                  <a:close/>
                </a:path>
                <a:path w="602615" h="602615">
                  <a:moveTo>
                    <a:pt x="455688" y="421830"/>
                  </a:moveTo>
                  <a:lnTo>
                    <a:pt x="453212" y="409092"/>
                  </a:lnTo>
                  <a:lnTo>
                    <a:pt x="445770" y="397891"/>
                  </a:lnTo>
                  <a:lnTo>
                    <a:pt x="434581" y="390448"/>
                  </a:lnTo>
                  <a:lnTo>
                    <a:pt x="421830" y="387972"/>
                  </a:lnTo>
                  <a:lnTo>
                    <a:pt x="409092" y="390448"/>
                  </a:lnTo>
                  <a:lnTo>
                    <a:pt x="397903" y="397891"/>
                  </a:lnTo>
                  <a:lnTo>
                    <a:pt x="390461" y="409092"/>
                  </a:lnTo>
                  <a:lnTo>
                    <a:pt x="387985" y="421830"/>
                  </a:lnTo>
                  <a:lnTo>
                    <a:pt x="390461" y="434568"/>
                  </a:lnTo>
                  <a:lnTo>
                    <a:pt x="397903" y="445770"/>
                  </a:lnTo>
                  <a:lnTo>
                    <a:pt x="409092" y="453199"/>
                  </a:lnTo>
                  <a:lnTo>
                    <a:pt x="421830" y="455676"/>
                  </a:lnTo>
                  <a:lnTo>
                    <a:pt x="434581" y="453199"/>
                  </a:lnTo>
                  <a:lnTo>
                    <a:pt x="445770" y="445770"/>
                  </a:lnTo>
                  <a:lnTo>
                    <a:pt x="453212" y="434568"/>
                  </a:lnTo>
                  <a:lnTo>
                    <a:pt x="455688" y="421830"/>
                  </a:lnTo>
                  <a:close/>
                </a:path>
                <a:path w="602615" h="602615">
                  <a:moveTo>
                    <a:pt x="455688" y="180213"/>
                  </a:moveTo>
                  <a:lnTo>
                    <a:pt x="453199" y="167474"/>
                  </a:lnTo>
                  <a:lnTo>
                    <a:pt x="445770" y="156273"/>
                  </a:lnTo>
                  <a:lnTo>
                    <a:pt x="434581" y="148844"/>
                  </a:lnTo>
                  <a:lnTo>
                    <a:pt x="421830" y="146354"/>
                  </a:lnTo>
                  <a:lnTo>
                    <a:pt x="409092" y="148844"/>
                  </a:lnTo>
                  <a:lnTo>
                    <a:pt x="397903" y="156273"/>
                  </a:lnTo>
                  <a:lnTo>
                    <a:pt x="390461" y="167474"/>
                  </a:lnTo>
                  <a:lnTo>
                    <a:pt x="387985" y="180213"/>
                  </a:lnTo>
                  <a:lnTo>
                    <a:pt x="390461" y="192951"/>
                  </a:lnTo>
                  <a:lnTo>
                    <a:pt x="397903" y="204152"/>
                  </a:lnTo>
                  <a:lnTo>
                    <a:pt x="409092" y="211582"/>
                  </a:lnTo>
                  <a:lnTo>
                    <a:pt x="421830" y="214058"/>
                  </a:lnTo>
                  <a:lnTo>
                    <a:pt x="434581" y="211582"/>
                  </a:lnTo>
                  <a:lnTo>
                    <a:pt x="445770" y="204152"/>
                  </a:lnTo>
                  <a:lnTo>
                    <a:pt x="453199" y="192951"/>
                  </a:lnTo>
                  <a:lnTo>
                    <a:pt x="455688" y="180213"/>
                  </a:lnTo>
                  <a:close/>
                </a:path>
                <a:path w="602615" h="602615">
                  <a:moveTo>
                    <a:pt x="493763" y="551662"/>
                  </a:moveTo>
                  <a:lnTo>
                    <a:pt x="488048" y="534670"/>
                  </a:lnTo>
                  <a:lnTo>
                    <a:pt x="476199" y="521233"/>
                  </a:lnTo>
                  <a:lnTo>
                    <a:pt x="460641" y="513651"/>
                  </a:lnTo>
                  <a:lnTo>
                    <a:pt x="443382" y="512445"/>
                  </a:lnTo>
                  <a:lnTo>
                    <a:pt x="426389" y="518160"/>
                  </a:lnTo>
                  <a:lnTo>
                    <a:pt x="412953" y="530009"/>
                  </a:lnTo>
                  <a:lnTo>
                    <a:pt x="405358" y="545566"/>
                  </a:lnTo>
                  <a:lnTo>
                    <a:pt x="404164" y="562825"/>
                  </a:lnTo>
                  <a:lnTo>
                    <a:pt x="409867" y="579805"/>
                  </a:lnTo>
                  <a:lnTo>
                    <a:pt x="421728" y="593255"/>
                  </a:lnTo>
                  <a:lnTo>
                    <a:pt x="437273" y="600837"/>
                  </a:lnTo>
                  <a:lnTo>
                    <a:pt x="454533" y="602043"/>
                  </a:lnTo>
                  <a:lnTo>
                    <a:pt x="471525" y="596341"/>
                  </a:lnTo>
                  <a:lnTo>
                    <a:pt x="484962" y="584479"/>
                  </a:lnTo>
                  <a:lnTo>
                    <a:pt x="492556" y="568921"/>
                  </a:lnTo>
                  <a:lnTo>
                    <a:pt x="493763" y="551662"/>
                  </a:lnTo>
                  <a:close/>
                </a:path>
                <a:path w="602615" h="602615">
                  <a:moveTo>
                    <a:pt x="493763" y="50380"/>
                  </a:moveTo>
                  <a:lnTo>
                    <a:pt x="492556" y="33108"/>
                  </a:lnTo>
                  <a:lnTo>
                    <a:pt x="484962" y="17564"/>
                  </a:lnTo>
                  <a:lnTo>
                    <a:pt x="471525" y="5715"/>
                  </a:lnTo>
                  <a:lnTo>
                    <a:pt x="454533" y="0"/>
                  </a:lnTo>
                  <a:lnTo>
                    <a:pt x="437273" y="1193"/>
                  </a:lnTo>
                  <a:lnTo>
                    <a:pt x="421728" y="8788"/>
                  </a:lnTo>
                  <a:lnTo>
                    <a:pt x="409867" y="22225"/>
                  </a:lnTo>
                  <a:lnTo>
                    <a:pt x="404164" y="39217"/>
                  </a:lnTo>
                  <a:lnTo>
                    <a:pt x="405358" y="56476"/>
                  </a:lnTo>
                  <a:lnTo>
                    <a:pt x="412953" y="72034"/>
                  </a:lnTo>
                  <a:lnTo>
                    <a:pt x="426389" y="83883"/>
                  </a:lnTo>
                  <a:lnTo>
                    <a:pt x="443382" y="89598"/>
                  </a:lnTo>
                  <a:lnTo>
                    <a:pt x="460641" y="88392"/>
                  </a:lnTo>
                  <a:lnTo>
                    <a:pt x="476199" y="80810"/>
                  </a:lnTo>
                  <a:lnTo>
                    <a:pt x="488048" y="67360"/>
                  </a:lnTo>
                  <a:lnTo>
                    <a:pt x="493763" y="50380"/>
                  </a:lnTo>
                  <a:close/>
                </a:path>
                <a:path w="602615" h="602615">
                  <a:moveTo>
                    <a:pt x="602056" y="454520"/>
                  </a:moveTo>
                  <a:lnTo>
                    <a:pt x="600849" y="437261"/>
                  </a:lnTo>
                  <a:lnTo>
                    <a:pt x="593267" y="421716"/>
                  </a:lnTo>
                  <a:lnTo>
                    <a:pt x="579831" y="409867"/>
                  </a:lnTo>
                  <a:lnTo>
                    <a:pt x="562838" y="404152"/>
                  </a:lnTo>
                  <a:lnTo>
                    <a:pt x="545579" y="405358"/>
                  </a:lnTo>
                  <a:lnTo>
                    <a:pt x="530021" y="412940"/>
                  </a:lnTo>
                  <a:lnTo>
                    <a:pt x="518160" y="426389"/>
                  </a:lnTo>
                  <a:lnTo>
                    <a:pt x="512445" y="443369"/>
                  </a:lnTo>
                  <a:lnTo>
                    <a:pt x="513651" y="460641"/>
                  </a:lnTo>
                  <a:lnTo>
                    <a:pt x="521246" y="476186"/>
                  </a:lnTo>
                  <a:lnTo>
                    <a:pt x="534682" y="488035"/>
                  </a:lnTo>
                  <a:lnTo>
                    <a:pt x="551675" y="493750"/>
                  </a:lnTo>
                  <a:lnTo>
                    <a:pt x="568934" y="492544"/>
                  </a:lnTo>
                  <a:lnTo>
                    <a:pt x="584479" y="484962"/>
                  </a:lnTo>
                  <a:lnTo>
                    <a:pt x="596341" y="471512"/>
                  </a:lnTo>
                  <a:lnTo>
                    <a:pt x="602056" y="454520"/>
                  </a:lnTo>
                  <a:close/>
                </a:path>
                <a:path w="602615" h="602615">
                  <a:moveTo>
                    <a:pt x="602056" y="147510"/>
                  </a:moveTo>
                  <a:lnTo>
                    <a:pt x="596341" y="130530"/>
                  </a:lnTo>
                  <a:lnTo>
                    <a:pt x="584479" y="117081"/>
                  </a:lnTo>
                  <a:lnTo>
                    <a:pt x="568934" y="109499"/>
                  </a:lnTo>
                  <a:lnTo>
                    <a:pt x="551675" y="108292"/>
                  </a:lnTo>
                  <a:lnTo>
                    <a:pt x="534682" y="114007"/>
                  </a:lnTo>
                  <a:lnTo>
                    <a:pt x="521246" y="125857"/>
                  </a:lnTo>
                  <a:lnTo>
                    <a:pt x="513651" y="141401"/>
                  </a:lnTo>
                  <a:lnTo>
                    <a:pt x="512457" y="158661"/>
                  </a:lnTo>
                  <a:lnTo>
                    <a:pt x="518172" y="175653"/>
                  </a:lnTo>
                  <a:lnTo>
                    <a:pt x="530021" y="189103"/>
                  </a:lnTo>
                  <a:lnTo>
                    <a:pt x="545566" y="196684"/>
                  </a:lnTo>
                  <a:lnTo>
                    <a:pt x="562825" y="197891"/>
                  </a:lnTo>
                  <a:lnTo>
                    <a:pt x="579818" y="192176"/>
                  </a:lnTo>
                  <a:lnTo>
                    <a:pt x="593267" y="180327"/>
                  </a:lnTo>
                  <a:lnTo>
                    <a:pt x="600849" y="164769"/>
                  </a:lnTo>
                  <a:lnTo>
                    <a:pt x="602056" y="14751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object 15">
              <a:extLst>
                <a:ext uri="{FF2B5EF4-FFF2-40B4-BE49-F238E27FC236}">
                  <a16:creationId xmlns:a16="http://schemas.microsoft.com/office/drawing/2014/main" id="{E32592D8-DDE9-89FB-6EDC-251AB2A7609F}"/>
                </a:ext>
              </a:extLst>
            </p:cNvPr>
            <p:cNvSpPr txBox="1"/>
            <p:nvPr userDrawn="1"/>
          </p:nvSpPr>
          <p:spPr>
            <a:xfrm>
              <a:off x="2273810" y="5911769"/>
              <a:ext cx="1094501" cy="304447"/>
            </a:xfrm>
            <a:prstGeom prst="rect">
              <a:avLst/>
            </a:prstGeom>
          </p:spPr>
          <p:txBody>
            <a:bodyPr vert="horz" wrap="square" lIns="0" tIns="21948" rIns="0" bIns="0" rtlCol="0">
              <a:spAutoFit/>
            </a:bodyPr>
            <a:lstStyle/>
            <a:p>
              <a:pPr marL="7701" marR="3081" defTabSz="554492">
                <a:lnSpc>
                  <a:spcPct val="90000"/>
                </a:lnSpc>
                <a:spcBef>
                  <a:spcPts val="172"/>
                </a:spcBef>
              </a:pPr>
              <a:r>
                <a:rPr lang="en-GB" sz="1400" kern="0" dirty="0">
                  <a:solidFill>
                    <a:srgbClr val="DBFF51"/>
                  </a:solidFill>
                  <a:latin typeface="UKCEH Suisse" panose="020B0504000000000000" pitchFamily="34" charset="-78"/>
                  <a:cs typeface="UKCEH Suisse" panose="020B0504000000000000" pitchFamily="34" charset="-78"/>
                </a:rPr>
                <a:t>Our planet. Decoded</a:t>
              </a:r>
              <a:r>
                <a:rPr sz="1400" kern="0" spc="-6" dirty="0">
                  <a:solidFill>
                    <a:srgbClr val="DBFF51"/>
                  </a:solidFill>
                  <a:latin typeface="UKCEH Suisse" panose="020B0504000000000000" pitchFamily="34" charset="-78"/>
                  <a:cs typeface="UKCEH Suisse" panose="020B0504000000000000" pitchFamily="34" charset="-78"/>
                </a:rPr>
                <a:t>.</a:t>
              </a:r>
              <a:endParaRPr sz="1400" kern="0" dirty="0">
                <a:solidFill>
                  <a:sysClr val="windowText" lastClr="000000"/>
                </a:solidFill>
                <a:latin typeface="UKCEH Suisse" panose="020B0504000000000000" pitchFamily="34" charset="-78"/>
                <a:cs typeface="UKCEH Suisse" panose="020B0504000000000000" pitchFamily="34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3960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r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3">
            <a:extLst>
              <a:ext uri="{FF2B5EF4-FFF2-40B4-BE49-F238E27FC236}">
                <a16:creationId xmlns:a16="http://schemas.microsoft.com/office/drawing/2014/main" id="{61084645-480F-7C04-2A2B-767EFB82118B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8825454" y="1994560"/>
            <a:ext cx="2190366" cy="2190367"/>
          </a:xfrm>
          <a:prstGeom prst="ellipse">
            <a:avLst/>
          </a:prstGeom>
          <a:noFill/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60" y="1153525"/>
            <a:ext cx="8129740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3529166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 18pt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F51DF53-7A57-7591-630A-332C29C31FCA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42760" y="1785579"/>
            <a:ext cx="2259901" cy="915605"/>
          </a:xfrm>
        </p:spPr>
        <p:txBody>
          <a:bodyPr lIns="180000" tIns="180000"/>
          <a:lstStyle>
            <a:lvl1pPr>
              <a:lnSpc>
                <a:spcPct val="80000"/>
              </a:lnSpc>
              <a:defRPr sz="6000"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1400" b="1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/>
            </a:lvl6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5F1AFAD9-BA35-1508-FD4F-D95BE3C5541E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262711" y="1785579"/>
            <a:ext cx="2259901" cy="915605"/>
          </a:xfrm>
        </p:spPr>
        <p:txBody>
          <a:bodyPr lIns="180000" tIns="180000"/>
          <a:lstStyle>
            <a:lvl1pPr>
              <a:lnSpc>
                <a:spcPct val="80000"/>
              </a:lnSpc>
              <a:defRPr sz="6000"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1400" b="1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/>
            </a:lvl6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8001ACE0-F099-6D9E-5862-A7AB8FF10A28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442760" y="4177095"/>
            <a:ext cx="2259901" cy="915605"/>
          </a:xfrm>
        </p:spPr>
        <p:txBody>
          <a:bodyPr lIns="180000" tIns="180000"/>
          <a:lstStyle>
            <a:lvl1pPr>
              <a:lnSpc>
                <a:spcPct val="80000"/>
              </a:lnSpc>
              <a:defRPr sz="6000"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1400" b="1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/>
            </a:lvl6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354E9274-954D-97DA-4305-D0E6C3FE36E4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262711" y="4177095"/>
            <a:ext cx="2259901" cy="915605"/>
          </a:xfrm>
        </p:spPr>
        <p:txBody>
          <a:bodyPr lIns="180000" tIns="180000"/>
          <a:lstStyle>
            <a:lvl1pPr>
              <a:lnSpc>
                <a:spcPct val="80000"/>
              </a:lnSpc>
              <a:defRPr sz="6000"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1400" b="1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/>
            </a:lvl6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ECEA4CBE-6445-2645-7368-97200940F204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8082662" y="4187933"/>
            <a:ext cx="3675951" cy="1145960"/>
          </a:xfrm>
        </p:spPr>
        <p:txBody>
          <a:bodyPr lIns="180000" tIns="180000" anchor="b"/>
          <a:lstStyle>
            <a:lvl1pPr>
              <a:lnSpc>
                <a:spcPct val="80000"/>
              </a:lnSpc>
              <a:defRPr sz="8000"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1400" b="1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/>
            </a:lvl6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2E8299F-10C0-3D54-F5EA-775E5DDC85E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2759" y="3106558"/>
            <a:ext cx="3672827" cy="915606"/>
          </a:xfrm>
        </p:spPr>
        <p:txBody>
          <a:bodyPr lIns="180000" bIns="180000" anchor="b"/>
          <a:lstStyle>
            <a:lvl1pPr>
              <a:lnSpc>
                <a:spcPct val="100000"/>
              </a:lnSpc>
              <a:defRPr sz="2200" spc="-50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buSzPct val="120000"/>
              <a:buNone/>
              <a:defRPr sz="240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defRPr sz="2800"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ody Copy 28pt</a:t>
            </a:r>
          </a:p>
          <a:p>
            <a:pPr lvl="2"/>
            <a:r>
              <a:rPr lang="en-US" dirty="0"/>
              <a:t>Subheading 28pt 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0A0613BA-0E47-B79A-8A7F-F3EAB336059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259586" y="3106558"/>
            <a:ext cx="3672827" cy="915606"/>
          </a:xfrm>
        </p:spPr>
        <p:txBody>
          <a:bodyPr lIns="180000" bIns="180000" anchor="b"/>
          <a:lstStyle>
            <a:lvl1pPr>
              <a:lnSpc>
                <a:spcPct val="100000"/>
              </a:lnSpc>
              <a:defRPr sz="2200" spc="-50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buSzPct val="120000"/>
              <a:buNone/>
              <a:defRPr sz="280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defRPr sz="2800"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ody Copy 28pt</a:t>
            </a:r>
          </a:p>
          <a:p>
            <a:pPr lvl="2"/>
            <a:r>
              <a:rPr lang="en-US" dirty="0"/>
              <a:t>Subheading 28pt 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F186BCEE-35DF-30BA-979C-ACEC4970D3E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2759" y="5509008"/>
            <a:ext cx="3672827" cy="915606"/>
          </a:xfrm>
        </p:spPr>
        <p:txBody>
          <a:bodyPr lIns="180000" bIns="180000" anchor="b"/>
          <a:lstStyle>
            <a:lvl1pPr>
              <a:lnSpc>
                <a:spcPct val="100000"/>
              </a:lnSpc>
              <a:defRPr sz="2200" spc="-50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buSzPct val="120000"/>
              <a:buNone/>
              <a:defRPr sz="280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defRPr sz="2800"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ody Copy 28pt</a:t>
            </a:r>
          </a:p>
          <a:p>
            <a:pPr lvl="2"/>
            <a:r>
              <a:rPr lang="en-US" dirty="0"/>
              <a:t>Subheading 28pt 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7BBE7CF3-D698-A29B-A426-00B87C142B7C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4259586" y="5509008"/>
            <a:ext cx="3672827" cy="915606"/>
          </a:xfrm>
        </p:spPr>
        <p:txBody>
          <a:bodyPr lIns="180000" bIns="180000" anchor="b"/>
          <a:lstStyle>
            <a:lvl1pPr>
              <a:lnSpc>
                <a:spcPct val="100000"/>
              </a:lnSpc>
              <a:defRPr sz="2200" spc="-50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buSzPct val="120000"/>
              <a:buNone/>
              <a:defRPr sz="2800">
                <a:solidFill>
                  <a:schemeClr val="tx1"/>
                </a:solidFill>
                <a:latin typeface="+mn-lt"/>
              </a:defRPr>
            </a:lvl2pPr>
            <a:lvl3pPr algn="ctr">
              <a:lnSpc>
                <a:spcPct val="100000"/>
              </a:lnSpc>
              <a:defRPr sz="2800"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ody Copy 28pt</a:t>
            </a:r>
          </a:p>
          <a:p>
            <a:pPr lvl="2"/>
            <a:r>
              <a:rPr lang="en-US" dirty="0"/>
              <a:t>Subheading 28pt </a:t>
            </a:r>
          </a:p>
        </p:txBody>
      </p:sp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11E5DAE9-E5C8-DE42-5FA4-5746878CCEA3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8076413" y="5509008"/>
            <a:ext cx="3672827" cy="915606"/>
          </a:xfrm>
        </p:spPr>
        <p:txBody>
          <a:bodyPr lIns="180000" bIns="180000" anchor="b"/>
          <a:lstStyle>
            <a:lvl1pPr>
              <a:lnSpc>
                <a:spcPct val="100000"/>
              </a:lnSpc>
              <a:defRPr sz="2200" spc="-50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buSzPct val="120000"/>
              <a:buNone/>
              <a:defRPr sz="280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defRPr sz="2800"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ody Copy 28pt</a:t>
            </a:r>
          </a:p>
          <a:p>
            <a:pPr lvl="2"/>
            <a:r>
              <a:rPr lang="en-US" dirty="0"/>
              <a:t>Subheading 28pt </a:t>
            </a:r>
          </a:p>
        </p:txBody>
      </p:sp>
    </p:spTree>
    <p:extLst>
      <p:ext uri="{BB962C8B-B14F-4D97-AF65-F5344CB8AC3E}">
        <p14:creationId xmlns:p14="http://schemas.microsoft.com/office/powerpoint/2010/main" val="18722207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Stat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6885F9C-C24D-8E06-39CB-991FDF3CDC74}"/>
              </a:ext>
            </a:extLst>
          </p:cNvPr>
          <p:cNvSpPr/>
          <p:nvPr userDrawn="1"/>
        </p:nvSpPr>
        <p:spPr>
          <a:xfrm>
            <a:off x="277814" y="1219263"/>
            <a:ext cx="4402136" cy="5341873"/>
          </a:xfrm>
          <a:custGeom>
            <a:avLst/>
            <a:gdLst>
              <a:gd name="connsiteX0" fmla="*/ 108008 w 3694111"/>
              <a:gd name="connsiteY0" fmla="*/ 0 h 5472360"/>
              <a:gd name="connsiteX1" fmla="*/ 3366046 w 3694111"/>
              <a:gd name="connsiteY1" fmla="*/ 0 h 5472360"/>
              <a:gd name="connsiteX2" fmla="*/ 3366051 w 3694111"/>
              <a:gd name="connsiteY2" fmla="*/ 1 h 5472360"/>
              <a:gd name="connsiteX3" fmla="*/ 3694111 w 3694111"/>
              <a:gd name="connsiteY3" fmla="*/ 1 h 5472360"/>
              <a:gd name="connsiteX4" fmla="*/ 3694111 w 3694111"/>
              <a:gd name="connsiteY4" fmla="*/ 5472360 h 5472360"/>
              <a:gd name="connsiteX5" fmla="*/ 1378407 w 3694111"/>
              <a:gd name="connsiteY5" fmla="*/ 5472360 h 5472360"/>
              <a:gd name="connsiteX6" fmla="*/ 1378404 w 3694111"/>
              <a:gd name="connsiteY6" fmla="*/ 5472359 h 5472360"/>
              <a:gd name="connsiteX7" fmla="*/ 108008 w 3694111"/>
              <a:gd name="connsiteY7" fmla="*/ 5472359 h 5472360"/>
              <a:gd name="connsiteX8" fmla="*/ 0 w 3694111"/>
              <a:gd name="connsiteY8" fmla="*/ 5364351 h 5472360"/>
              <a:gd name="connsiteX9" fmla="*/ 0 w 3694111"/>
              <a:gd name="connsiteY9" fmla="*/ 108008 h 5472360"/>
              <a:gd name="connsiteX10" fmla="*/ 108008 w 3694111"/>
              <a:gd name="connsiteY10" fmla="*/ 0 h 5472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694111" h="5472360">
                <a:moveTo>
                  <a:pt x="108008" y="0"/>
                </a:moveTo>
                <a:lnTo>
                  <a:pt x="3366046" y="0"/>
                </a:lnTo>
                <a:lnTo>
                  <a:pt x="3366051" y="1"/>
                </a:lnTo>
                <a:lnTo>
                  <a:pt x="3694111" y="1"/>
                </a:lnTo>
                <a:lnTo>
                  <a:pt x="3694111" y="5472360"/>
                </a:lnTo>
                <a:lnTo>
                  <a:pt x="1378407" y="5472360"/>
                </a:lnTo>
                <a:lnTo>
                  <a:pt x="1378404" y="5472359"/>
                </a:lnTo>
                <a:lnTo>
                  <a:pt x="108008" y="5472359"/>
                </a:lnTo>
                <a:cubicBezTo>
                  <a:pt x="48357" y="5472359"/>
                  <a:pt x="0" y="5424002"/>
                  <a:pt x="0" y="5364351"/>
                </a:cubicBezTo>
                <a:lnTo>
                  <a:pt x="0" y="108008"/>
                </a:lnTo>
                <a:cubicBezTo>
                  <a:pt x="0" y="48357"/>
                  <a:pt x="48357" y="0"/>
                  <a:pt x="108008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F51DF53-7A57-7591-630A-332C29C31FCA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42761" y="1219262"/>
            <a:ext cx="3889526" cy="1602766"/>
          </a:xfrm>
        </p:spPr>
        <p:txBody>
          <a:bodyPr lIns="144000" tIns="288000" rIns="144000" bIns="0"/>
          <a:lstStyle>
            <a:lvl1pPr>
              <a:lnSpc>
                <a:spcPct val="80000"/>
              </a:lnSpc>
              <a:defRPr sz="6000">
                <a:solidFill>
                  <a:schemeClr val="accent2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SzPct val="120000"/>
              <a:buNone/>
              <a:defRPr sz="2200">
                <a:solidFill>
                  <a:schemeClr val="accent2"/>
                </a:solidFill>
                <a:latin typeface="+mn-lt"/>
              </a:defRPr>
            </a:lvl2pPr>
            <a:lvl3pPr>
              <a:defRPr sz="1400" b="1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Add net lin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6D9C5968-DE71-FB45-C1AE-4C28FBE9CE4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42760" y="2923689"/>
            <a:ext cx="3889528" cy="1602766"/>
          </a:xfrm>
        </p:spPr>
        <p:txBody>
          <a:bodyPr lIns="144000" tIns="288000" rIns="144000" bIns="0"/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SzPct val="120000"/>
              <a:buNone/>
              <a:defRPr sz="2200">
                <a:solidFill>
                  <a:schemeClr val="bg2"/>
                </a:solidFill>
                <a:latin typeface="+mn-lt"/>
              </a:defRPr>
            </a:lvl2pPr>
            <a:lvl3pPr>
              <a:defRPr sz="1400" b="1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Add net lin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EB609316-6B6B-27AA-BC0E-DA05F3B4DA6A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442760" y="4628116"/>
            <a:ext cx="3889527" cy="1602766"/>
          </a:xfrm>
        </p:spPr>
        <p:txBody>
          <a:bodyPr lIns="144000" tIns="288000" rIns="144000" bIns="0"/>
          <a:lstStyle>
            <a:lvl1pPr>
              <a:lnSpc>
                <a:spcPct val="80000"/>
              </a:lnSpc>
              <a:defRPr sz="600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SzPct val="120000"/>
              <a:buNone/>
              <a:defRPr sz="2200">
                <a:solidFill>
                  <a:schemeClr val="tx2"/>
                </a:solidFill>
                <a:latin typeface="+mn-lt"/>
              </a:defRPr>
            </a:lvl2pPr>
            <a:lvl3pPr>
              <a:defRPr sz="1400" b="1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Add net lin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3E909C-D1DC-74B6-E269-18545E9EB2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813" y="754161"/>
            <a:ext cx="11298685" cy="465103"/>
          </a:xfrm>
        </p:spPr>
        <p:txBody>
          <a:bodyPr/>
          <a:lstStyle>
            <a:lvl1pPr>
              <a:defRPr sz="2800" spc="-10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1DB9517-380B-E731-16C5-312AB7658FA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679950" y="1219264"/>
            <a:ext cx="7212014" cy="5341872"/>
          </a:xfrm>
          <a:custGeom>
            <a:avLst/>
            <a:gdLst>
              <a:gd name="connsiteX0" fmla="*/ 1353081 w 7911336"/>
              <a:gd name="connsiteY0" fmla="*/ 0 h 5472359"/>
              <a:gd name="connsiteX1" fmla="*/ 1699027 w 7911336"/>
              <a:gd name="connsiteY1" fmla="*/ 0 h 5472359"/>
              <a:gd name="connsiteX2" fmla="*/ 7457366 w 7911336"/>
              <a:gd name="connsiteY2" fmla="*/ 0 h 5472359"/>
              <a:gd name="connsiteX3" fmla="*/ 7803312 w 7911336"/>
              <a:gd name="connsiteY3" fmla="*/ 0 h 5472359"/>
              <a:gd name="connsiteX4" fmla="*/ 7911336 w 7911336"/>
              <a:gd name="connsiteY4" fmla="*/ 108024 h 5472359"/>
              <a:gd name="connsiteX5" fmla="*/ 7911336 w 7911336"/>
              <a:gd name="connsiteY5" fmla="*/ 5364335 h 5472359"/>
              <a:gd name="connsiteX6" fmla="*/ 7803312 w 7911336"/>
              <a:gd name="connsiteY6" fmla="*/ 5472359 h 5472359"/>
              <a:gd name="connsiteX7" fmla="*/ 7457366 w 7911336"/>
              <a:gd name="connsiteY7" fmla="*/ 5472359 h 5472359"/>
              <a:gd name="connsiteX8" fmla="*/ 1699027 w 7911336"/>
              <a:gd name="connsiteY8" fmla="*/ 5472359 h 5472359"/>
              <a:gd name="connsiteX9" fmla="*/ 1353081 w 7911336"/>
              <a:gd name="connsiteY9" fmla="*/ 5472359 h 5472359"/>
              <a:gd name="connsiteX10" fmla="*/ 345946 w 7911336"/>
              <a:gd name="connsiteY10" fmla="*/ 5472359 h 5472359"/>
              <a:gd name="connsiteX11" fmla="*/ 0 w 7911336"/>
              <a:gd name="connsiteY11" fmla="*/ 5472359 h 5472359"/>
              <a:gd name="connsiteX12" fmla="*/ 0 w 7911336"/>
              <a:gd name="connsiteY12" fmla="*/ 1 h 547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911336" h="5472359">
                <a:moveTo>
                  <a:pt x="1353081" y="0"/>
                </a:moveTo>
                <a:lnTo>
                  <a:pt x="1699027" y="0"/>
                </a:lnTo>
                <a:lnTo>
                  <a:pt x="7457366" y="0"/>
                </a:lnTo>
                <a:lnTo>
                  <a:pt x="7803312" y="0"/>
                </a:lnTo>
                <a:cubicBezTo>
                  <a:pt x="7862972" y="0"/>
                  <a:pt x="7911336" y="48364"/>
                  <a:pt x="7911336" y="108024"/>
                </a:cubicBezTo>
                <a:lnTo>
                  <a:pt x="7911336" y="5364335"/>
                </a:lnTo>
                <a:cubicBezTo>
                  <a:pt x="7911336" y="5423995"/>
                  <a:pt x="7862972" y="5472359"/>
                  <a:pt x="7803312" y="5472359"/>
                </a:cubicBezTo>
                <a:lnTo>
                  <a:pt x="7457366" y="5472359"/>
                </a:lnTo>
                <a:lnTo>
                  <a:pt x="1699027" y="5472359"/>
                </a:lnTo>
                <a:lnTo>
                  <a:pt x="1353081" y="5472359"/>
                </a:lnTo>
                <a:lnTo>
                  <a:pt x="345946" y="5472359"/>
                </a:lnTo>
                <a:lnTo>
                  <a:pt x="0" y="5472359"/>
                </a:lnTo>
                <a:lnTo>
                  <a:pt x="0" y="1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03573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59" y="1153525"/>
            <a:ext cx="52992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 18pt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1702EC5-562E-39F2-8F3D-7AA4FD745D56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42760" y="2095172"/>
            <a:ext cx="4945216" cy="3663950"/>
          </a:xfrm>
        </p:spPr>
        <p:txBody>
          <a:bodyPr/>
          <a:lstStyle>
            <a:lvl1pPr marL="263525" indent="0">
              <a:defRPr>
                <a:latin typeface="+mn-lt"/>
              </a:defRPr>
            </a:lvl1pPr>
            <a:lvl2pPr marL="442913" indent="-179388">
              <a:defRPr>
                <a:latin typeface="+mn-lt"/>
              </a:defRPr>
            </a:lvl2pPr>
            <a:lvl3pPr marL="263525" indent="0">
              <a:defRPr>
                <a:latin typeface="+mn-lt"/>
              </a:defRPr>
            </a:lvl3pPr>
            <a:lvl4pPr marL="263525" indent="-263525">
              <a:buSzPct val="100000"/>
              <a:buFont typeface="UKCEH Suisse" panose="020B0504000000000000" pitchFamily="34" charset="-78"/>
              <a:buChar char="•"/>
              <a:defRPr>
                <a:latin typeface="+mn-lt"/>
              </a:defRPr>
            </a:lvl4pPr>
            <a:lvl5pPr marL="263525" indent="0">
              <a:defRPr b="1">
                <a:latin typeface="+mn-lt"/>
              </a:defRPr>
            </a:lvl5pPr>
            <a:lvl6pPr marL="263525" indent="0">
              <a:defRPr>
                <a:latin typeface="+mn-lt"/>
              </a:defRPr>
            </a:lvl6pPr>
            <a:lvl7pPr marL="263525" indent="0">
              <a:defRPr>
                <a:latin typeface="+mn-lt"/>
              </a:defRPr>
            </a:lvl7pPr>
            <a:lvl8pPr marL="263525" indent="0">
              <a:defRPr>
                <a:latin typeface="+mn-lt"/>
              </a:defRPr>
            </a:lvl8pPr>
            <a:lvl9pPr marL="263525" indent="0">
              <a:defRPr>
                <a:latin typeface="+mn-lt"/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D6C190B-0185-73FD-A7E2-1D2F1C5DA4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5999" y="782150"/>
            <a:ext cx="5795963" cy="5778987"/>
          </a:xfrm>
          <a:custGeom>
            <a:avLst/>
            <a:gdLst>
              <a:gd name="connsiteX0" fmla="*/ 110841 w 5795963"/>
              <a:gd name="connsiteY0" fmla="*/ 0 h 5778987"/>
              <a:gd name="connsiteX1" fmla="*/ 5685122 w 5795963"/>
              <a:gd name="connsiteY1" fmla="*/ 0 h 5778987"/>
              <a:gd name="connsiteX2" fmla="*/ 5795963 w 5795963"/>
              <a:gd name="connsiteY2" fmla="*/ 110841 h 5778987"/>
              <a:gd name="connsiteX3" fmla="*/ 5795963 w 5795963"/>
              <a:gd name="connsiteY3" fmla="*/ 5668146 h 5778987"/>
              <a:gd name="connsiteX4" fmla="*/ 5685122 w 5795963"/>
              <a:gd name="connsiteY4" fmla="*/ 5778987 h 5778987"/>
              <a:gd name="connsiteX5" fmla="*/ 110841 w 5795963"/>
              <a:gd name="connsiteY5" fmla="*/ 5778987 h 5778987"/>
              <a:gd name="connsiteX6" fmla="*/ 0 w 5795963"/>
              <a:gd name="connsiteY6" fmla="*/ 5668146 h 5778987"/>
              <a:gd name="connsiteX7" fmla="*/ 0 w 5795963"/>
              <a:gd name="connsiteY7" fmla="*/ 110841 h 5778987"/>
              <a:gd name="connsiteX8" fmla="*/ 110841 w 5795963"/>
              <a:gd name="connsiteY8" fmla="*/ 0 h 5778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795963" h="5778987">
                <a:moveTo>
                  <a:pt x="110841" y="0"/>
                </a:moveTo>
                <a:lnTo>
                  <a:pt x="5685122" y="0"/>
                </a:lnTo>
                <a:cubicBezTo>
                  <a:pt x="5746338" y="0"/>
                  <a:pt x="5795963" y="49625"/>
                  <a:pt x="5795963" y="110841"/>
                </a:cubicBezTo>
                <a:lnTo>
                  <a:pt x="5795963" y="5668146"/>
                </a:lnTo>
                <a:cubicBezTo>
                  <a:pt x="5795963" y="5729362"/>
                  <a:pt x="5746338" y="5778987"/>
                  <a:pt x="5685122" y="5778987"/>
                </a:cubicBezTo>
                <a:lnTo>
                  <a:pt x="110841" y="5778987"/>
                </a:lnTo>
                <a:cubicBezTo>
                  <a:pt x="49625" y="5778987"/>
                  <a:pt x="0" y="5729362"/>
                  <a:pt x="0" y="5668146"/>
                </a:cubicBezTo>
                <a:lnTo>
                  <a:pt x="0" y="110841"/>
                </a:lnTo>
                <a:cubicBezTo>
                  <a:pt x="0" y="49625"/>
                  <a:pt x="49625" y="0"/>
                  <a:pt x="11084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554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s + 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F2BBD90-99AE-57ED-0EE4-2429D1F4DF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sX0" fmla="*/ 6096000 w 12192000"/>
              <a:gd name="csY0" fmla="*/ 502172 h 6858000"/>
              <a:gd name="csX1" fmla="*/ 6096000 w 12192000"/>
              <a:gd name="csY1" fmla="*/ 6857911 h 6858000"/>
              <a:gd name="csX2" fmla="*/ 12191567 w 12192000"/>
              <a:gd name="csY2" fmla="*/ 6857911 h 6858000"/>
              <a:gd name="csX3" fmla="*/ 12191567 w 12192000"/>
              <a:gd name="csY3" fmla="*/ 502172 h 6858000"/>
              <a:gd name="csX4" fmla="*/ 0 w 12192000"/>
              <a:gd name="csY4" fmla="*/ 0 h 6858000"/>
              <a:gd name="csX5" fmla="*/ 12192000 w 12192000"/>
              <a:gd name="csY5" fmla="*/ 0 h 6858000"/>
              <a:gd name="csX6" fmla="*/ 12192000 w 12192000"/>
              <a:gd name="csY6" fmla="*/ 6858000 h 6858000"/>
              <a:gd name="csX7" fmla="*/ 0 w 12192000"/>
              <a:gd name="csY7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12192000" h="6858000">
                <a:moveTo>
                  <a:pt x="6096000" y="502172"/>
                </a:moveTo>
                <a:lnTo>
                  <a:pt x="6096000" y="6857911"/>
                </a:lnTo>
                <a:lnTo>
                  <a:pt x="12191567" y="6857911"/>
                </a:lnTo>
                <a:lnTo>
                  <a:pt x="12191567" y="5021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65614E7-C9FD-C576-C62C-2E2C15AF1B3F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9ED1D42-3B79-1F04-9C47-A22E0BCFC6E9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A7C76E58-CDC6-E2DC-FB3C-7F447B5207B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1028930C-0740-41CD-0FF6-8EB58A8DA66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B71B722-6F7B-61D4-551D-3D3A21AB423E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5E3029DC-FF37-C314-4CAA-E646DCBEF04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18920F36-0F71-BBE1-D9E1-7A76612CD7C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59" y="1153525"/>
            <a:ext cx="52992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 18pt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1702EC5-562E-39F2-8F3D-7AA4FD745D56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42760" y="2095172"/>
            <a:ext cx="4945216" cy="3663950"/>
          </a:xfrm>
        </p:spPr>
        <p:txBody>
          <a:bodyPr/>
          <a:lstStyle>
            <a:lvl1pPr marL="263525" indent="0">
              <a:defRPr>
                <a:latin typeface="+mn-lt"/>
              </a:defRPr>
            </a:lvl1pPr>
            <a:lvl2pPr marL="442913" indent="-179388">
              <a:defRPr>
                <a:latin typeface="+mn-lt"/>
              </a:defRPr>
            </a:lvl2pPr>
            <a:lvl3pPr marL="263525" indent="0">
              <a:defRPr>
                <a:latin typeface="+mn-lt"/>
              </a:defRPr>
            </a:lvl3pPr>
            <a:lvl4pPr marL="263525" indent="-263525">
              <a:buSzPct val="100000"/>
              <a:buFont typeface="UKCEH Suisse" panose="020B0504000000000000" pitchFamily="34" charset="-78"/>
              <a:buChar char="•"/>
              <a:defRPr>
                <a:latin typeface="+mn-lt"/>
              </a:defRPr>
            </a:lvl4pPr>
            <a:lvl5pPr marL="263525" indent="0">
              <a:defRPr b="1">
                <a:latin typeface="+mn-lt"/>
              </a:defRPr>
            </a:lvl5pPr>
            <a:lvl6pPr marL="263525" indent="0">
              <a:defRPr>
                <a:latin typeface="+mn-lt"/>
              </a:defRPr>
            </a:lvl6pPr>
            <a:lvl7pPr marL="263525" indent="0">
              <a:defRPr>
                <a:latin typeface="+mn-lt"/>
              </a:defRPr>
            </a:lvl7pPr>
            <a:lvl8pPr marL="263525" indent="0">
              <a:defRPr>
                <a:latin typeface="+mn-lt"/>
              </a:defRPr>
            </a:lvl8pPr>
            <a:lvl9pPr marL="263525" indent="0">
              <a:defRPr>
                <a:latin typeface="+mn-lt"/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D7B7A546-66ED-6B8F-318B-BAF4F176FC2C}"/>
              </a:ext>
            </a:extLst>
          </p:cNvPr>
          <p:cNvSpPr/>
          <p:nvPr userDrawn="1"/>
        </p:nvSpPr>
        <p:spPr>
          <a:xfrm>
            <a:off x="127419" y="509667"/>
            <a:ext cx="5976000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8215D865-AC46-D526-BD9B-84675A8C9327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7" name="object 9">
            <a:extLst>
              <a:ext uri="{FF2B5EF4-FFF2-40B4-BE49-F238E27FC236}">
                <a16:creationId xmlns:a16="http://schemas.microsoft.com/office/drawing/2014/main" id="{94739B5C-EFD0-2FC3-F88F-7E2583C85458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FACAF5E-78EB-113A-31FE-2EAB2FFC2CC2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483323" y="981309"/>
            <a:ext cx="5422519" cy="5421709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251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59" y="1153525"/>
            <a:ext cx="52992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 18pt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D6C190B-0185-73FD-A7E2-1D2F1C5DA4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5999" y="782150"/>
            <a:ext cx="5795963" cy="5778987"/>
          </a:xfrm>
          <a:custGeom>
            <a:avLst/>
            <a:gdLst>
              <a:gd name="connsiteX0" fmla="*/ 110841 w 5795963"/>
              <a:gd name="connsiteY0" fmla="*/ 0 h 5778987"/>
              <a:gd name="connsiteX1" fmla="*/ 5685122 w 5795963"/>
              <a:gd name="connsiteY1" fmla="*/ 0 h 5778987"/>
              <a:gd name="connsiteX2" fmla="*/ 5795963 w 5795963"/>
              <a:gd name="connsiteY2" fmla="*/ 110841 h 5778987"/>
              <a:gd name="connsiteX3" fmla="*/ 5795963 w 5795963"/>
              <a:gd name="connsiteY3" fmla="*/ 5668146 h 5778987"/>
              <a:gd name="connsiteX4" fmla="*/ 5685122 w 5795963"/>
              <a:gd name="connsiteY4" fmla="*/ 5778987 h 5778987"/>
              <a:gd name="connsiteX5" fmla="*/ 110841 w 5795963"/>
              <a:gd name="connsiteY5" fmla="*/ 5778987 h 5778987"/>
              <a:gd name="connsiteX6" fmla="*/ 0 w 5795963"/>
              <a:gd name="connsiteY6" fmla="*/ 5668146 h 5778987"/>
              <a:gd name="connsiteX7" fmla="*/ 0 w 5795963"/>
              <a:gd name="connsiteY7" fmla="*/ 110841 h 5778987"/>
              <a:gd name="connsiteX8" fmla="*/ 110841 w 5795963"/>
              <a:gd name="connsiteY8" fmla="*/ 0 h 5778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795963" h="5778987">
                <a:moveTo>
                  <a:pt x="110841" y="0"/>
                </a:moveTo>
                <a:lnTo>
                  <a:pt x="5685122" y="0"/>
                </a:lnTo>
                <a:cubicBezTo>
                  <a:pt x="5746338" y="0"/>
                  <a:pt x="5795963" y="49625"/>
                  <a:pt x="5795963" y="110841"/>
                </a:cubicBezTo>
                <a:lnTo>
                  <a:pt x="5795963" y="5668146"/>
                </a:lnTo>
                <a:cubicBezTo>
                  <a:pt x="5795963" y="5729362"/>
                  <a:pt x="5746338" y="5778987"/>
                  <a:pt x="5685122" y="5778987"/>
                </a:cubicBezTo>
                <a:lnTo>
                  <a:pt x="110841" y="5778987"/>
                </a:lnTo>
                <a:cubicBezTo>
                  <a:pt x="49625" y="5778987"/>
                  <a:pt x="0" y="5729362"/>
                  <a:pt x="0" y="5668146"/>
                </a:cubicBezTo>
                <a:lnTo>
                  <a:pt x="0" y="110841"/>
                </a:lnTo>
                <a:cubicBezTo>
                  <a:pt x="0" y="49625"/>
                  <a:pt x="49625" y="0"/>
                  <a:pt x="11084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09734846-0BFD-FDD7-C621-043B901E2DA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59" y="2095500"/>
            <a:ext cx="5310187" cy="36639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>
              <a:defRPr sz="2200"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74169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3E909C-D1DC-74B6-E269-18545E9EB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7813" y="754161"/>
            <a:ext cx="11298685" cy="465103"/>
          </a:xfrm>
        </p:spPr>
        <p:txBody>
          <a:bodyPr/>
          <a:lstStyle>
            <a:lvl1pPr>
              <a:defRPr sz="2800" spc="-10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Image Title 28pt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1DB9517-380B-E731-16C5-312AB7658FA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77813" y="1219264"/>
            <a:ext cx="5735076" cy="5341872"/>
          </a:xfrm>
          <a:prstGeom prst="roundRect">
            <a:avLst>
              <a:gd name="adj" fmla="val 1974"/>
            </a:avLst>
          </a:prstGeom>
          <a:noFill/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EB1C213F-A56B-0AEA-514F-CC7689297AF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56889" y="1219264"/>
            <a:ext cx="5735076" cy="5341872"/>
          </a:xfrm>
          <a:prstGeom prst="roundRect">
            <a:avLst>
              <a:gd name="adj" fmla="val 1974"/>
            </a:avLst>
          </a:prstGeom>
          <a:noFill/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3126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3E909C-D1DC-74B6-E269-18545E9EB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7813" y="754161"/>
            <a:ext cx="11298685" cy="465103"/>
          </a:xfrm>
        </p:spPr>
        <p:txBody>
          <a:bodyPr/>
          <a:lstStyle>
            <a:lvl1pPr>
              <a:defRPr sz="2800" spc="-10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Image Title 28pt</a:t>
            </a:r>
          </a:p>
        </p:txBody>
      </p:sp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B0481886-0F86-10A8-FD99-57320C3AE9E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217351" y="1219264"/>
            <a:ext cx="2795538" cy="2533692"/>
          </a:xfrm>
          <a:prstGeom prst="roundRect">
            <a:avLst>
              <a:gd name="adj" fmla="val 4054"/>
            </a:avLst>
          </a:prstGeom>
          <a:noFill/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EFC0E29-6A1E-59C5-A555-6F1E49483196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56888" y="1219264"/>
            <a:ext cx="5735076" cy="2533692"/>
          </a:xfrm>
          <a:prstGeom prst="roundRect">
            <a:avLst>
              <a:gd name="adj" fmla="val 4054"/>
            </a:avLst>
          </a:prstGeom>
          <a:noFill/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E57916C-1F65-A165-0AB0-3574033E5E4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77813" y="1219264"/>
            <a:ext cx="2795538" cy="5341869"/>
          </a:xfrm>
          <a:prstGeom prst="roundRect">
            <a:avLst>
              <a:gd name="adj" fmla="val 3863"/>
            </a:avLst>
          </a:prstGeom>
          <a:noFill/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4450EE7-6FCD-8DA1-14D7-9DE8B5B582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217351" y="3896956"/>
            <a:ext cx="5735075" cy="2664179"/>
          </a:xfrm>
          <a:prstGeom prst="roundRect">
            <a:avLst>
              <a:gd name="adj" fmla="val 4054"/>
            </a:avLst>
          </a:prstGeom>
          <a:noFill/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9" name="Picture Placeholder 18">
            <a:extLst>
              <a:ext uri="{FF2B5EF4-FFF2-40B4-BE49-F238E27FC236}">
                <a16:creationId xmlns:a16="http://schemas.microsoft.com/office/drawing/2014/main" id="{4732D995-8790-A142-F826-EF8C92076FA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096426" y="3896956"/>
            <a:ext cx="2795538" cy="2664179"/>
          </a:xfrm>
          <a:prstGeom prst="roundRect">
            <a:avLst>
              <a:gd name="adj" fmla="val 4054"/>
            </a:avLst>
          </a:prstGeom>
          <a:noFill/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4129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3E909C-D1DC-74B6-E269-18545E9EB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7813" y="754161"/>
            <a:ext cx="11298685" cy="465103"/>
          </a:xfrm>
        </p:spPr>
        <p:txBody>
          <a:bodyPr/>
          <a:lstStyle>
            <a:lvl1pPr>
              <a:defRPr sz="2800" spc="-10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Image Title 28pt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1DB9517-380B-E731-16C5-312AB7658FA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77813" y="1219264"/>
            <a:ext cx="11614151" cy="5341872"/>
          </a:xfrm>
          <a:prstGeom prst="roundRect">
            <a:avLst>
              <a:gd name="adj" fmla="val 1974"/>
            </a:avLst>
          </a:prstGeom>
          <a:noFill/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3497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280170" y="115887"/>
            <a:ext cx="7345093" cy="28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1DB9517-380B-E731-16C5-312AB7658FA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510306"/>
            <a:ext cx="12192000" cy="6347693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3496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C39EC67-35FF-2A44-894E-F494E04CA3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43523" y="0"/>
            <a:ext cx="7848050" cy="6857519"/>
          </a:xfrm>
        </p:spPr>
        <p:txBody>
          <a:bodyPr/>
          <a:lstStyle/>
          <a:p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30C1D17-0A26-073C-8FD3-3D9C9D9B7A16}"/>
              </a:ext>
            </a:extLst>
          </p:cNvPr>
          <p:cNvGrpSpPr/>
          <p:nvPr userDrawn="1"/>
        </p:nvGrpSpPr>
        <p:grpSpPr>
          <a:xfrm>
            <a:off x="444894" y="5891285"/>
            <a:ext cx="3806509" cy="560461"/>
            <a:chOff x="444894" y="5891285"/>
            <a:chExt cx="3806509" cy="560461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0EA0FEA6-EEEE-BCA4-FC3C-67250D6B2ABC}"/>
                </a:ext>
              </a:extLst>
            </p:cNvPr>
            <p:cNvGrpSpPr/>
            <p:nvPr userDrawn="1"/>
          </p:nvGrpSpPr>
          <p:grpSpPr>
            <a:xfrm>
              <a:off x="444894" y="5891285"/>
              <a:ext cx="2121117" cy="560461"/>
              <a:chOff x="444894" y="5881858"/>
              <a:chExt cx="2121117" cy="560461"/>
            </a:xfrm>
          </p:grpSpPr>
          <p:sp>
            <p:nvSpPr>
              <p:cNvPr id="8" name="object 8"/>
              <p:cNvSpPr/>
              <p:nvPr/>
            </p:nvSpPr>
            <p:spPr>
              <a:xfrm>
                <a:off x="1097760" y="5990273"/>
                <a:ext cx="1468251" cy="341167"/>
              </a:xfrm>
              <a:custGeom>
                <a:avLst/>
                <a:gdLst/>
                <a:ahLst/>
                <a:cxnLst/>
                <a:rect l="l" t="t" r="r" b="b"/>
                <a:pathLst>
                  <a:path w="2421254" h="562609">
                    <a:moveTo>
                      <a:pt x="76395" y="9737"/>
                    </a:moveTo>
                    <a:lnTo>
                      <a:pt x="0" y="9737"/>
                    </a:lnTo>
                    <a:lnTo>
                      <a:pt x="0" y="331801"/>
                    </a:lnTo>
                    <a:lnTo>
                      <a:pt x="3125" y="390312"/>
                    </a:lnTo>
                    <a:lnTo>
                      <a:pt x="12649" y="439255"/>
                    </a:lnTo>
                    <a:lnTo>
                      <a:pt x="28791" y="479175"/>
                    </a:lnTo>
                    <a:lnTo>
                      <a:pt x="51770" y="510615"/>
                    </a:lnTo>
                    <a:lnTo>
                      <a:pt x="81806" y="534120"/>
                    </a:lnTo>
                    <a:lnTo>
                      <a:pt x="119119" y="550236"/>
                    </a:lnTo>
                    <a:lnTo>
                      <a:pt x="163928" y="559506"/>
                    </a:lnTo>
                    <a:lnTo>
                      <a:pt x="216454" y="562475"/>
                    </a:lnTo>
                    <a:lnTo>
                      <a:pt x="271225" y="558818"/>
                    </a:lnTo>
                    <a:lnTo>
                      <a:pt x="317298" y="547824"/>
                    </a:lnTo>
                    <a:lnTo>
                      <a:pt x="355103" y="529458"/>
                    </a:lnTo>
                    <a:lnTo>
                      <a:pt x="385070" y="503684"/>
                    </a:lnTo>
                    <a:lnTo>
                      <a:pt x="389901" y="496571"/>
                    </a:lnTo>
                    <a:lnTo>
                      <a:pt x="216454" y="496571"/>
                    </a:lnTo>
                    <a:lnTo>
                      <a:pt x="162773" y="490573"/>
                    </a:lnTo>
                    <a:lnTo>
                      <a:pt x="123149" y="472316"/>
                    </a:lnTo>
                    <a:lnTo>
                      <a:pt x="96360" y="441403"/>
                    </a:lnTo>
                    <a:lnTo>
                      <a:pt x="81183" y="397440"/>
                    </a:lnTo>
                    <a:lnTo>
                      <a:pt x="76395" y="340031"/>
                    </a:lnTo>
                    <a:lnTo>
                      <a:pt x="76395" y="9737"/>
                    </a:lnTo>
                    <a:close/>
                  </a:path>
                  <a:path w="2421254" h="562609">
                    <a:moveTo>
                      <a:pt x="435159" y="9737"/>
                    </a:moveTo>
                    <a:lnTo>
                      <a:pt x="358763" y="9737"/>
                    </a:lnTo>
                    <a:lnTo>
                      <a:pt x="358763" y="331801"/>
                    </a:lnTo>
                    <a:lnTo>
                      <a:pt x="355452" y="381192"/>
                    </a:lnTo>
                    <a:lnTo>
                      <a:pt x="345004" y="422117"/>
                    </a:lnTo>
                    <a:lnTo>
                      <a:pt x="299621" y="477652"/>
                    </a:lnTo>
                    <a:lnTo>
                      <a:pt x="263145" y="491803"/>
                    </a:lnTo>
                    <a:lnTo>
                      <a:pt x="216454" y="496571"/>
                    </a:lnTo>
                    <a:lnTo>
                      <a:pt x="389901" y="496571"/>
                    </a:lnTo>
                    <a:lnTo>
                      <a:pt x="407629" y="470467"/>
                    </a:lnTo>
                    <a:lnTo>
                      <a:pt x="423210" y="429771"/>
                    </a:lnTo>
                    <a:lnTo>
                      <a:pt x="432244" y="381561"/>
                    </a:lnTo>
                    <a:lnTo>
                      <a:pt x="435159" y="325801"/>
                    </a:lnTo>
                    <a:lnTo>
                      <a:pt x="435159" y="9737"/>
                    </a:lnTo>
                    <a:close/>
                  </a:path>
                  <a:path w="2421254" h="562609">
                    <a:moveTo>
                      <a:pt x="609656" y="9737"/>
                    </a:moveTo>
                    <a:lnTo>
                      <a:pt x="533261" y="9737"/>
                    </a:lnTo>
                    <a:lnTo>
                      <a:pt x="533261" y="552737"/>
                    </a:lnTo>
                    <a:lnTo>
                      <a:pt x="609656" y="552737"/>
                    </a:lnTo>
                    <a:lnTo>
                      <a:pt x="609656" y="381977"/>
                    </a:lnTo>
                    <a:lnTo>
                      <a:pt x="695036" y="287614"/>
                    </a:lnTo>
                    <a:lnTo>
                      <a:pt x="786259" y="287614"/>
                    </a:lnTo>
                    <a:lnTo>
                      <a:pt x="783089" y="283111"/>
                    </a:lnTo>
                    <a:lnTo>
                      <a:pt x="609656" y="283111"/>
                    </a:lnTo>
                    <a:lnTo>
                      <a:pt x="609656" y="9737"/>
                    </a:lnTo>
                    <a:close/>
                  </a:path>
                  <a:path w="2421254" h="562609">
                    <a:moveTo>
                      <a:pt x="786259" y="287614"/>
                    </a:moveTo>
                    <a:lnTo>
                      <a:pt x="695036" y="287614"/>
                    </a:lnTo>
                    <a:lnTo>
                      <a:pt x="881533" y="552737"/>
                    </a:lnTo>
                    <a:lnTo>
                      <a:pt x="972912" y="552737"/>
                    </a:lnTo>
                    <a:lnTo>
                      <a:pt x="786259" y="287614"/>
                    </a:lnTo>
                    <a:close/>
                  </a:path>
                  <a:path w="2421254" h="562609">
                    <a:moveTo>
                      <a:pt x="949698" y="9737"/>
                    </a:moveTo>
                    <a:lnTo>
                      <a:pt x="854570" y="9737"/>
                    </a:lnTo>
                    <a:lnTo>
                      <a:pt x="609656" y="283111"/>
                    </a:lnTo>
                    <a:lnTo>
                      <a:pt x="783089" y="283111"/>
                    </a:lnTo>
                    <a:lnTo>
                      <a:pt x="746710" y="231437"/>
                    </a:lnTo>
                    <a:lnTo>
                      <a:pt x="949698" y="9737"/>
                    </a:lnTo>
                    <a:close/>
                  </a:path>
                  <a:path w="2421254" h="562609">
                    <a:moveTo>
                      <a:pt x="1228297" y="0"/>
                    </a:moveTo>
                    <a:lnTo>
                      <a:pt x="1179400" y="4082"/>
                    </a:lnTo>
                    <a:lnTo>
                      <a:pt x="1134825" y="16018"/>
                    </a:lnTo>
                    <a:lnTo>
                      <a:pt x="1094903" y="35377"/>
                    </a:lnTo>
                    <a:lnTo>
                      <a:pt x="1060167" y="61576"/>
                    </a:lnTo>
                    <a:lnTo>
                      <a:pt x="1030848" y="94262"/>
                    </a:lnTo>
                    <a:lnTo>
                      <a:pt x="1007380" y="132927"/>
                    </a:lnTo>
                    <a:lnTo>
                      <a:pt x="990144" y="177103"/>
                    </a:lnTo>
                    <a:lnTo>
                      <a:pt x="979522" y="226323"/>
                    </a:lnTo>
                    <a:lnTo>
                      <a:pt x="975896" y="280117"/>
                    </a:lnTo>
                    <a:lnTo>
                      <a:pt x="979218" y="333199"/>
                    </a:lnTo>
                    <a:lnTo>
                      <a:pt x="989042" y="382205"/>
                    </a:lnTo>
                    <a:lnTo>
                      <a:pt x="1005160" y="426556"/>
                    </a:lnTo>
                    <a:lnTo>
                      <a:pt x="1027361" y="465673"/>
                    </a:lnTo>
                    <a:lnTo>
                      <a:pt x="1055438" y="498977"/>
                    </a:lnTo>
                    <a:lnTo>
                      <a:pt x="1089181" y="525888"/>
                    </a:lnTo>
                    <a:lnTo>
                      <a:pt x="1128379" y="545828"/>
                    </a:lnTo>
                    <a:lnTo>
                      <a:pt x="1172825" y="558216"/>
                    </a:lnTo>
                    <a:lnTo>
                      <a:pt x="1222308" y="562475"/>
                    </a:lnTo>
                    <a:lnTo>
                      <a:pt x="1271099" y="558640"/>
                    </a:lnTo>
                    <a:lnTo>
                      <a:pt x="1316158" y="547208"/>
                    </a:lnTo>
                    <a:lnTo>
                      <a:pt x="1356685" y="528281"/>
                    </a:lnTo>
                    <a:lnTo>
                      <a:pt x="1391881" y="501965"/>
                    </a:lnTo>
                    <a:lnTo>
                      <a:pt x="1395252" y="498068"/>
                    </a:lnTo>
                    <a:lnTo>
                      <a:pt x="1226800" y="498068"/>
                    </a:lnTo>
                    <a:lnTo>
                      <a:pt x="1185380" y="493227"/>
                    </a:lnTo>
                    <a:lnTo>
                      <a:pt x="1148282" y="478967"/>
                    </a:lnTo>
                    <a:lnTo>
                      <a:pt x="1116254" y="455680"/>
                    </a:lnTo>
                    <a:lnTo>
                      <a:pt x="1090042" y="423759"/>
                    </a:lnTo>
                    <a:lnTo>
                      <a:pt x="1070394" y="383596"/>
                    </a:lnTo>
                    <a:lnTo>
                      <a:pt x="1058057" y="335584"/>
                    </a:lnTo>
                    <a:lnTo>
                      <a:pt x="1053779" y="280117"/>
                    </a:lnTo>
                    <a:lnTo>
                      <a:pt x="1058208" y="223834"/>
                    </a:lnTo>
                    <a:lnTo>
                      <a:pt x="1070865" y="175779"/>
                    </a:lnTo>
                    <a:lnTo>
                      <a:pt x="1090808" y="136108"/>
                    </a:lnTo>
                    <a:lnTo>
                      <a:pt x="1117091" y="104979"/>
                    </a:lnTo>
                    <a:lnTo>
                      <a:pt x="1148772" y="82549"/>
                    </a:lnTo>
                    <a:lnTo>
                      <a:pt x="1184905" y="68976"/>
                    </a:lnTo>
                    <a:lnTo>
                      <a:pt x="1224549" y="64416"/>
                    </a:lnTo>
                    <a:lnTo>
                      <a:pt x="1392710" y="64416"/>
                    </a:lnTo>
                    <a:lnTo>
                      <a:pt x="1390770" y="62087"/>
                    </a:lnTo>
                    <a:lnTo>
                      <a:pt x="1356937" y="35377"/>
                    </a:lnTo>
                    <a:lnTo>
                      <a:pt x="1318263" y="16018"/>
                    </a:lnTo>
                    <a:lnTo>
                      <a:pt x="1318417" y="16018"/>
                    </a:lnTo>
                    <a:lnTo>
                      <a:pt x="1275128" y="4082"/>
                    </a:lnTo>
                    <a:lnTo>
                      <a:pt x="1275535" y="4082"/>
                    </a:lnTo>
                    <a:lnTo>
                      <a:pt x="1228297" y="0"/>
                    </a:lnTo>
                    <a:close/>
                  </a:path>
                  <a:path w="2421254" h="562609">
                    <a:moveTo>
                      <a:pt x="1457484" y="379726"/>
                    </a:moveTo>
                    <a:lnTo>
                      <a:pt x="1383329" y="379726"/>
                    </a:lnTo>
                    <a:lnTo>
                      <a:pt x="1368780" y="418780"/>
                    </a:lnTo>
                    <a:lnTo>
                      <a:pt x="1345815" y="451472"/>
                    </a:lnTo>
                    <a:lnTo>
                      <a:pt x="1314471" y="476472"/>
                    </a:lnTo>
                    <a:lnTo>
                      <a:pt x="1274787" y="492447"/>
                    </a:lnTo>
                    <a:lnTo>
                      <a:pt x="1226800" y="498068"/>
                    </a:lnTo>
                    <a:lnTo>
                      <a:pt x="1395252" y="498068"/>
                    </a:lnTo>
                    <a:lnTo>
                      <a:pt x="1420946" y="468364"/>
                    </a:lnTo>
                    <a:lnTo>
                      <a:pt x="1443080" y="427583"/>
                    </a:lnTo>
                    <a:lnTo>
                      <a:pt x="1457484" y="379726"/>
                    </a:lnTo>
                    <a:close/>
                  </a:path>
                  <a:path w="2421254" h="562609">
                    <a:moveTo>
                      <a:pt x="1392710" y="64416"/>
                    </a:moveTo>
                    <a:lnTo>
                      <a:pt x="1224549" y="64416"/>
                    </a:lnTo>
                    <a:lnTo>
                      <a:pt x="1272316" y="70181"/>
                    </a:lnTo>
                    <a:lnTo>
                      <a:pt x="1312065" y="86443"/>
                    </a:lnTo>
                    <a:lnTo>
                      <a:pt x="1343510" y="111657"/>
                    </a:lnTo>
                    <a:lnTo>
                      <a:pt x="1366362" y="144274"/>
                    </a:lnTo>
                    <a:lnTo>
                      <a:pt x="1380334" y="182748"/>
                    </a:lnTo>
                    <a:lnTo>
                      <a:pt x="1454489" y="182748"/>
                    </a:lnTo>
                    <a:lnTo>
                      <a:pt x="1440315" y="136108"/>
                    </a:lnTo>
                    <a:lnTo>
                      <a:pt x="1418812" y="95754"/>
                    </a:lnTo>
                    <a:lnTo>
                      <a:pt x="1392710" y="64416"/>
                    </a:lnTo>
                    <a:close/>
                  </a:path>
                  <a:path w="2421254" h="562609">
                    <a:moveTo>
                      <a:pt x="1899376" y="9737"/>
                    </a:moveTo>
                    <a:lnTo>
                      <a:pt x="1530885" y="9737"/>
                    </a:lnTo>
                    <a:lnTo>
                      <a:pt x="1530885" y="552737"/>
                    </a:lnTo>
                    <a:lnTo>
                      <a:pt x="1899376" y="552737"/>
                    </a:lnTo>
                    <a:lnTo>
                      <a:pt x="1899376" y="486833"/>
                    </a:lnTo>
                    <a:lnTo>
                      <a:pt x="1607270" y="486833"/>
                    </a:lnTo>
                    <a:lnTo>
                      <a:pt x="1607270" y="306325"/>
                    </a:lnTo>
                    <a:lnTo>
                      <a:pt x="1882152" y="306325"/>
                    </a:lnTo>
                    <a:lnTo>
                      <a:pt x="1882152" y="240421"/>
                    </a:lnTo>
                    <a:lnTo>
                      <a:pt x="1607270" y="240421"/>
                    </a:lnTo>
                    <a:lnTo>
                      <a:pt x="1607270" y="75641"/>
                    </a:lnTo>
                    <a:lnTo>
                      <a:pt x="1899376" y="75641"/>
                    </a:lnTo>
                    <a:lnTo>
                      <a:pt x="1899376" y="9737"/>
                    </a:lnTo>
                    <a:close/>
                  </a:path>
                  <a:path w="2421254" h="562609">
                    <a:moveTo>
                      <a:pt x="2058900" y="9737"/>
                    </a:moveTo>
                    <a:lnTo>
                      <a:pt x="1982505" y="9737"/>
                    </a:lnTo>
                    <a:lnTo>
                      <a:pt x="1982505" y="552737"/>
                    </a:lnTo>
                    <a:lnTo>
                      <a:pt x="2058900" y="552737"/>
                    </a:lnTo>
                    <a:lnTo>
                      <a:pt x="2058900" y="306325"/>
                    </a:lnTo>
                    <a:lnTo>
                      <a:pt x="2420659" y="306325"/>
                    </a:lnTo>
                    <a:lnTo>
                      <a:pt x="2420659" y="240421"/>
                    </a:lnTo>
                    <a:lnTo>
                      <a:pt x="2058900" y="240421"/>
                    </a:lnTo>
                    <a:lnTo>
                      <a:pt x="2058900" y="9737"/>
                    </a:lnTo>
                    <a:close/>
                  </a:path>
                  <a:path w="2421254" h="562609">
                    <a:moveTo>
                      <a:pt x="2420659" y="306325"/>
                    </a:moveTo>
                    <a:lnTo>
                      <a:pt x="2344263" y="306325"/>
                    </a:lnTo>
                    <a:lnTo>
                      <a:pt x="2344263" y="552737"/>
                    </a:lnTo>
                    <a:lnTo>
                      <a:pt x="2420659" y="552737"/>
                    </a:lnTo>
                    <a:lnTo>
                      <a:pt x="2420659" y="306325"/>
                    </a:lnTo>
                    <a:close/>
                  </a:path>
                  <a:path w="2421254" h="562609">
                    <a:moveTo>
                      <a:pt x="2420659" y="9737"/>
                    </a:moveTo>
                    <a:lnTo>
                      <a:pt x="2344263" y="9737"/>
                    </a:lnTo>
                    <a:lnTo>
                      <a:pt x="2344263" y="240421"/>
                    </a:lnTo>
                    <a:lnTo>
                      <a:pt x="2420659" y="240421"/>
                    </a:lnTo>
                    <a:lnTo>
                      <a:pt x="2420659" y="9737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 defTabSz="554492"/>
                <a:endParaRPr sz="1092" kern="0">
                  <a:solidFill>
                    <a:sysClr val="windowText" lastClr="000000"/>
                  </a:solidFill>
                </a:endParaRPr>
              </a:p>
            </p:txBody>
          </p:sp>
          <p:pic>
            <p:nvPicPr>
              <p:cNvPr id="9" name="object 9"/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688034" y="5881858"/>
                <a:ext cx="74182" cy="74188"/>
              </a:xfrm>
              <a:prstGeom prst="rect">
                <a:avLst/>
              </a:prstGeom>
            </p:spPr>
          </p:pic>
          <p:pic>
            <p:nvPicPr>
              <p:cNvPr id="4" name="object 10"/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688033" y="6368131"/>
                <a:ext cx="74182" cy="74188"/>
              </a:xfrm>
              <a:prstGeom prst="rect">
                <a:avLst/>
              </a:prstGeom>
            </p:spPr>
          </p:pic>
          <p:pic>
            <p:nvPicPr>
              <p:cNvPr id="11" name="object 11"/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444894" y="6124997"/>
                <a:ext cx="74188" cy="74182"/>
              </a:xfrm>
              <a:prstGeom prst="rect">
                <a:avLst/>
              </a:prstGeom>
            </p:spPr>
          </p:pic>
          <p:pic>
            <p:nvPicPr>
              <p:cNvPr id="5" name="object 12"/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931167" y="6124998"/>
                <a:ext cx="74188" cy="74182"/>
              </a:xfrm>
              <a:prstGeom prst="rect">
                <a:avLst/>
              </a:prstGeom>
            </p:spPr>
          </p:pic>
          <p:pic>
            <p:nvPicPr>
              <p:cNvPr id="13" name="object 13"/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697308" y="5993870"/>
                <a:ext cx="55634" cy="55634"/>
              </a:xfrm>
              <a:prstGeom prst="rect">
                <a:avLst/>
              </a:prstGeom>
            </p:spPr>
          </p:pic>
          <p:pic>
            <p:nvPicPr>
              <p:cNvPr id="14" name="object 14"/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697306" y="6274673"/>
                <a:ext cx="55634" cy="55634"/>
              </a:xfrm>
              <a:prstGeom prst="rect">
                <a:avLst/>
              </a:prstGeom>
            </p:spPr>
          </p:pic>
          <p:pic>
            <p:nvPicPr>
              <p:cNvPr id="15" name="object 15"/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556906" y="6134270"/>
                <a:ext cx="55634" cy="55634"/>
              </a:xfrm>
              <a:prstGeom prst="rect">
                <a:avLst/>
              </a:prstGeom>
            </p:spPr>
          </p:pic>
          <p:pic>
            <p:nvPicPr>
              <p:cNvPr id="16" name="object 16"/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837708" y="6134273"/>
                <a:ext cx="55634" cy="55634"/>
              </a:xfrm>
              <a:prstGeom prst="rect">
                <a:avLst/>
              </a:prstGeom>
            </p:spPr>
          </p:pic>
          <p:grpSp>
            <p:nvGrpSpPr>
              <p:cNvPr id="17" name="object 17"/>
              <p:cNvGrpSpPr/>
              <p:nvPr/>
            </p:nvGrpSpPr>
            <p:grpSpPr>
              <a:xfrm>
                <a:off x="477746" y="6176265"/>
                <a:ext cx="494808" cy="233349"/>
                <a:chOff x="787133" y="10185118"/>
                <a:chExt cx="815975" cy="384810"/>
              </a:xfrm>
            </p:grpSpPr>
            <p:pic>
              <p:nvPicPr>
                <p:cNvPr id="18" name="object 18"/>
                <p:cNvPicPr/>
                <p:nvPr/>
              </p:nvPicPr>
              <p:blipFill>
                <a:blip r:embed="rId9" cstate="print"/>
                <a:stretch>
                  <a:fillRect/>
                </a:stretch>
              </p:blipFill>
              <p:spPr>
                <a:xfrm>
                  <a:off x="1334840" y="10448257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19" name="object 19"/>
                <p:cNvPicPr/>
                <p:nvPr/>
              </p:nvPicPr>
              <p:blipFill>
                <a:blip r:embed="rId10" cstate="print"/>
                <a:stretch>
                  <a:fillRect/>
                </a:stretch>
              </p:blipFill>
              <p:spPr>
                <a:xfrm>
                  <a:off x="1481599" y="10301501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0" name="object 20"/>
                <p:cNvPicPr/>
                <p:nvPr/>
              </p:nvPicPr>
              <p:blipFill>
                <a:blip r:embed="rId11" cstate="print"/>
                <a:stretch>
                  <a:fillRect/>
                </a:stretch>
              </p:blipFill>
              <p:spPr>
                <a:xfrm>
                  <a:off x="787133" y="10301502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1" name="object 21"/>
                <p:cNvPicPr/>
                <p:nvPr/>
              </p:nvPicPr>
              <p:blipFill>
                <a:blip r:embed="rId12" cstate="print"/>
                <a:stretch>
                  <a:fillRect/>
                </a:stretch>
              </p:blipFill>
              <p:spPr>
                <a:xfrm>
                  <a:off x="933890" y="10448262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2" name="object 22"/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1312920" y="10279582"/>
                  <a:ext cx="91751" cy="91751"/>
                </a:xfrm>
                <a:prstGeom prst="rect">
                  <a:avLst/>
                </a:prstGeom>
              </p:spPr>
            </p:pic>
            <p:pic>
              <p:nvPicPr>
                <p:cNvPr id="23" name="object 23"/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985485" y="10279583"/>
                  <a:ext cx="91751" cy="91751"/>
                </a:xfrm>
                <a:prstGeom prst="rect">
                  <a:avLst/>
                </a:prstGeom>
              </p:spPr>
            </p:pic>
            <p:sp>
              <p:nvSpPr>
                <p:cNvPr id="24" name="object 24"/>
                <p:cNvSpPr/>
                <p:nvPr/>
              </p:nvSpPr>
              <p:spPr>
                <a:xfrm>
                  <a:off x="1086154" y="10185126"/>
                  <a:ext cx="218440" cy="990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8440" h="99059">
                      <a:moveTo>
                        <a:pt x="50088" y="21932"/>
                      </a:moveTo>
                      <a:lnTo>
                        <a:pt x="46901" y="12433"/>
                      </a:lnTo>
                      <a:lnTo>
                        <a:pt x="40271" y="4914"/>
                      </a:lnTo>
                      <a:lnTo>
                        <a:pt x="31572" y="673"/>
                      </a:lnTo>
                      <a:lnTo>
                        <a:pt x="21920" y="0"/>
                      </a:lnTo>
                      <a:lnTo>
                        <a:pt x="12433" y="3187"/>
                      </a:lnTo>
                      <a:lnTo>
                        <a:pt x="4914" y="9829"/>
                      </a:lnTo>
                      <a:lnTo>
                        <a:pt x="673" y="18516"/>
                      </a:lnTo>
                      <a:lnTo>
                        <a:pt x="0" y="28168"/>
                      </a:lnTo>
                      <a:lnTo>
                        <a:pt x="3187" y="37668"/>
                      </a:lnTo>
                      <a:lnTo>
                        <a:pt x="9817" y="45173"/>
                      </a:lnTo>
                      <a:lnTo>
                        <a:pt x="18516" y="49415"/>
                      </a:lnTo>
                      <a:lnTo>
                        <a:pt x="28168" y="50088"/>
                      </a:lnTo>
                      <a:lnTo>
                        <a:pt x="37668" y="46901"/>
                      </a:lnTo>
                      <a:lnTo>
                        <a:pt x="45173" y="40271"/>
                      </a:lnTo>
                      <a:lnTo>
                        <a:pt x="49415" y="31572"/>
                      </a:lnTo>
                      <a:lnTo>
                        <a:pt x="50088" y="21932"/>
                      </a:lnTo>
                      <a:close/>
                    </a:path>
                    <a:path w="218440" h="99059">
                      <a:moveTo>
                        <a:pt x="134150" y="73469"/>
                      </a:moveTo>
                      <a:lnTo>
                        <a:pt x="132168" y="63652"/>
                      </a:lnTo>
                      <a:lnTo>
                        <a:pt x="126758" y="55626"/>
                      </a:lnTo>
                      <a:lnTo>
                        <a:pt x="118745" y="50215"/>
                      </a:lnTo>
                      <a:lnTo>
                        <a:pt x="108915" y="48234"/>
                      </a:lnTo>
                      <a:lnTo>
                        <a:pt x="99098" y="50215"/>
                      </a:lnTo>
                      <a:lnTo>
                        <a:pt x="91071" y="55626"/>
                      </a:lnTo>
                      <a:lnTo>
                        <a:pt x="85674" y="63652"/>
                      </a:lnTo>
                      <a:lnTo>
                        <a:pt x="83680" y="73469"/>
                      </a:lnTo>
                      <a:lnTo>
                        <a:pt x="85674" y="83286"/>
                      </a:lnTo>
                      <a:lnTo>
                        <a:pt x="91071" y="91313"/>
                      </a:lnTo>
                      <a:lnTo>
                        <a:pt x="99098" y="96723"/>
                      </a:lnTo>
                      <a:lnTo>
                        <a:pt x="108915" y="98704"/>
                      </a:lnTo>
                      <a:lnTo>
                        <a:pt x="118745" y="96723"/>
                      </a:lnTo>
                      <a:lnTo>
                        <a:pt x="126758" y="91313"/>
                      </a:lnTo>
                      <a:lnTo>
                        <a:pt x="132168" y="83286"/>
                      </a:lnTo>
                      <a:lnTo>
                        <a:pt x="134150" y="73469"/>
                      </a:lnTo>
                      <a:close/>
                    </a:path>
                    <a:path w="218440" h="99059">
                      <a:moveTo>
                        <a:pt x="217830" y="28155"/>
                      </a:moveTo>
                      <a:lnTo>
                        <a:pt x="217157" y="18516"/>
                      </a:lnTo>
                      <a:lnTo>
                        <a:pt x="212915" y="9817"/>
                      </a:lnTo>
                      <a:lnTo>
                        <a:pt x="205409" y="3187"/>
                      </a:lnTo>
                      <a:lnTo>
                        <a:pt x="195910" y="0"/>
                      </a:lnTo>
                      <a:lnTo>
                        <a:pt x="186258" y="673"/>
                      </a:lnTo>
                      <a:lnTo>
                        <a:pt x="177558" y="4914"/>
                      </a:lnTo>
                      <a:lnTo>
                        <a:pt x="170942" y="12420"/>
                      </a:lnTo>
                      <a:lnTo>
                        <a:pt x="167754" y="21920"/>
                      </a:lnTo>
                      <a:lnTo>
                        <a:pt x="168427" y="31572"/>
                      </a:lnTo>
                      <a:lnTo>
                        <a:pt x="172669" y="40271"/>
                      </a:lnTo>
                      <a:lnTo>
                        <a:pt x="180174" y="46901"/>
                      </a:lnTo>
                      <a:lnTo>
                        <a:pt x="189674" y="50088"/>
                      </a:lnTo>
                      <a:lnTo>
                        <a:pt x="199313" y="49415"/>
                      </a:lnTo>
                      <a:lnTo>
                        <a:pt x="208013" y="45173"/>
                      </a:lnTo>
                      <a:lnTo>
                        <a:pt x="214642" y="37655"/>
                      </a:lnTo>
                      <a:lnTo>
                        <a:pt x="217830" y="2815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defTabSz="554492"/>
                  <a:endParaRPr sz="1092" kern="0">
                    <a:solidFill>
                      <a:sysClr val="windowText" lastClr="000000"/>
                    </a:solidFill>
                  </a:endParaRPr>
                </a:p>
              </p:txBody>
            </p:sp>
          </p:grpSp>
          <p:grpSp>
            <p:nvGrpSpPr>
              <p:cNvPr id="6" name="object 25"/>
              <p:cNvGrpSpPr/>
              <p:nvPr/>
            </p:nvGrpSpPr>
            <p:grpSpPr>
              <a:xfrm>
                <a:off x="477744" y="5914708"/>
                <a:ext cx="494808" cy="233349"/>
                <a:chOff x="787129" y="9753791"/>
                <a:chExt cx="815975" cy="384810"/>
              </a:xfrm>
            </p:grpSpPr>
            <p:pic>
              <p:nvPicPr>
                <p:cNvPr id="26" name="object 26"/>
                <p:cNvPicPr/>
                <p:nvPr/>
              </p:nvPicPr>
              <p:blipFill>
                <a:blip r:embed="rId11" cstate="print"/>
                <a:stretch>
                  <a:fillRect/>
                </a:stretch>
              </p:blipFill>
              <p:spPr>
                <a:xfrm>
                  <a:off x="933889" y="9753796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7" name="object 27"/>
                <p:cNvPicPr/>
                <p:nvPr/>
              </p:nvPicPr>
              <p:blipFill>
                <a:blip r:embed="rId12" cstate="print"/>
                <a:stretch>
                  <a:fillRect/>
                </a:stretch>
              </p:blipFill>
              <p:spPr>
                <a:xfrm>
                  <a:off x="787129" y="9900552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8" name="object 28"/>
                <p:cNvPicPr/>
                <p:nvPr/>
              </p:nvPicPr>
              <p:blipFill>
                <a:blip r:embed="rId9" cstate="print"/>
                <a:stretch>
                  <a:fillRect/>
                </a:stretch>
              </p:blipFill>
              <p:spPr>
                <a:xfrm>
                  <a:off x="1481595" y="9900551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9" name="object 29"/>
                <p:cNvPicPr/>
                <p:nvPr/>
              </p:nvPicPr>
              <p:blipFill>
                <a:blip r:embed="rId10" cstate="print"/>
                <a:stretch>
                  <a:fillRect/>
                </a:stretch>
              </p:blipFill>
              <p:spPr>
                <a:xfrm>
                  <a:off x="1334838" y="9753791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30" name="object 30"/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985484" y="9952147"/>
                  <a:ext cx="91751" cy="91751"/>
                </a:xfrm>
                <a:prstGeom prst="rect">
                  <a:avLst/>
                </a:prstGeom>
              </p:spPr>
            </p:pic>
            <p:pic>
              <p:nvPicPr>
                <p:cNvPr id="31" name="object 31"/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1312920" y="9952146"/>
                  <a:ext cx="91751" cy="91751"/>
                </a:xfrm>
                <a:prstGeom prst="rect">
                  <a:avLst/>
                </a:prstGeom>
              </p:spPr>
            </p:pic>
            <p:sp>
              <p:nvSpPr>
                <p:cNvPr id="32" name="object 32"/>
                <p:cNvSpPr/>
                <p:nvPr/>
              </p:nvSpPr>
              <p:spPr>
                <a:xfrm>
                  <a:off x="1086154" y="10039660"/>
                  <a:ext cx="218440" cy="990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8440" h="99059">
                      <a:moveTo>
                        <a:pt x="50088" y="76784"/>
                      </a:moveTo>
                      <a:lnTo>
                        <a:pt x="49415" y="67132"/>
                      </a:lnTo>
                      <a:lnTo>
                        <a:pt x="45173" y="58445"/>
                      </a:lnTo>
                      <a:lnTo>
                        <a:pt x="37655" y="51816"/>
                      </a:lnTo>
                      <a:lnTo>
                        <a:pt x="28168" y="48615"/>
                      </a:lnTo>
                      <a:lnTo>
                        <a:pt x="18516" y="49288"/>
                      </a:lnTo>
                      <a:lnTo>
                        <a:pt x="9817" y="53530"/>
                      </a:lnTo>
                      <a:lnTo>
                        <a:pt x="3187" y="61048"/>
                      </a:lnTo>
                      <a:lnTo>
                        <a:pt x="0" y="70548"/>
                      </a:lnTo>
                      <a:lnTo>
                        <a:pt x="673" y="80187"/>
                      </a:lnTo>
                      <a:lnTo>
                        <a:pt x="4914" y="88887"/>
                      </a:lnTo>
                      <a:lnTo>
                        <a:pt x="12420" y="95516"/>
                      </a:lnTo>
                      <a:lnTo>
                        <a:pt x="21920" y="98704"/>
                      </a:lnTo>
                      <a:lnTo>
                        <a:pt x="31572" y="98031"/>
                      </a:lnTo>
                      <a:lnTo>
                        <a:pt x="40271" y="93789"/>
                      </a:lnTo>
                      <a:lnTo>
                        <a:pt x="46901" y="86283"/>
                      </a:lnTo>
                      <a:lnTo>
                        <a:pt x="50088" y="76784"/>
                      </a:lnTo>
                      <a:close/>
                    </a:path>
                    <a:path w="218440" h="99059">
                      <a:moveTo>
                        <a:pt x="134150" y="25234"/>
                      </a:moveTo>
                      <a:lnTo>
                        <a:pt x="132168" y="15417"/>
                      </a:lnTo>
                      <a:lnTo>
                        <a:pt x="126758" y="7391"/>
                      </a:lnTo>
                      <a:lnTo>
                        <a:pt x="118732" y="1981"/>
                      </a:lnTo>
                      <a:lnTo>
                        <a:pt x="108915" y="0"/>
                      </a:lnTo>
                      <a:lnTo>
                        <a:pt x="99098" y="1981"/>
                      </a:lnTo>
                      <a:lnTo>
                        <a:pt x="91071" y="7391"/>
                      </a:lnTo>
                      <a:lnTo>
                        <a:pt x="85674" y="15417"/>
                      </a:lnTo>
                      <a:lnTo>
                        <a:pt x="83693" y="25234"/>
                      </a:lnTo>
                      <a:lnTo>
                        <a:pt x="85674" y="35064"/>
                      </a:lnTo>
                      <a:lnTo>
                        <a:pt x="91071" y="43078"/>
                      </a:lnTo>
                      <a:lnTo>
                        <a:pt x="99098" y="48488"/>
                      </a:lnTo>
                      <a:lnTo>
                        <a:pt x="108915" y="50469"/>
                      </a:lnTo>
                      <a:lnTo>
                        <a:pt x="118732" y="48488"/>
                      </a:lnTo>
                      <a:lnTo>
                        <a:pt x="126758" y="43078"/>
                      </a:lnTo>
                      <a:lnTo>
                        <a:pt x="132168" y="35064"/>
                      </a:lnTo>
                      <a:lnTo>
                        <a:pt x="134150" y="25234"/>
                      </a:lnTo>
                      <a:close/>
                    </a:path>
                    <a:path w="218440" h="99059">
                      <a:moveTo>
                        <a:pt x="217830" y="70535"/>
                      </a:moveTo>
                      <a:lnTo>
                        <a:pt x="214642" y="61048"/>
                      </a:lnTo>
                      <a:lnTo>
                        <a:pt x="208013" y="53530"/>
                      </a:lnTo>
                      <a:lnTo>
                        <a:pt x="199326" y="49288"/>
                      </a:lnTo>
                      <a:lnTo>
                        <a:pt x="189674" y="48615"/>
                      </a:lnTo>
                      <a:lnTo>
                        <a:pt x="180174" y="51803"/>
                      </a:lnTo>
                      <a:lnTo>
                        <a:pt x="172656" y="58432"/>
                      </a:lnTo>
                      <a:lnTo>
                        <a:pt x="168414" y="67132"/>
                      </a:lnTo>
                      <a:lnTo>
                        <a:pt x="167741" y="76771"/>
                      </a:lnTo>
                      <a:lnTo>
                        <a:pt x="170942" y="86283"/>
                      </a:lnTo>
                      <a:lnTo>
                        <a:pt x="177571" y="93789"/>
                      </a:lnTo>
                      <a:lnTo>
                        <a:pt x="186258" y="98031"/>
                      </a:lnTo>
                      <a:lnTo>
                        <a:pt x="195910" y="98704"/>
                      </a:lnTo>
                      <a:lnTo>
                        <a:pt x="205409" y="95516"/>
                      </a:lnTo>
                      <a:lnTo>
                        <a:pt x="212915" y="88887"/>
                      </a:lnTo>
                      <a:lnTo>
                        <a:pt x="217157" y="80187"/>
                      </a:lnTo>
                      <a:lnTo>
                        <a:pt x="217830" y="705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defTabSz="554492"/>
                  <a:endParaRPr sz="1092" kern="0">
                    <a:solidFill>
                      <a:sysClr val="windowText" lastClr="000000"/>
                    </a:solidFill>
                  </a:endParaRPr>
                </a:p>
              </p:txBody>
            </p:sp>
          </p:grpSp>
        </p:grpSp>
        <p:sp>
          <p:nvSpPr>
            <p:cNvPr id="36" name="object 5"/>
            <p:cNvSpPr txBox="1"/>
            <p:nvPr userDrawn="1"/>
          </p:nvSpPr>
          <p:spPr>
            <a:xfrm>
              <a:off x="2912742" y="5954916"/>
              <a:ext cx="1338661" cy="438363"/>
            </a:xfrm>
            <a:prstGeom prst="rect">
              <a:avLst/>
            </a:prstGeom>
          </p:spPr>
          <p:txBody>
            <a:bodyPr vert="horz" wrap="square" lIns="0" tIns="27724" rIns="0" bIns="0" rtlCol="0">
              <a:spAutoFit/>
            </a:bodyPr>
            <a:lstStyle/>
            <a:p>
              <a:pPr marL="7701" marR="3081" defTabSz="554492">
                <a:lnSpc>
                  <a:spcPts val="1601"/>
                </a:lnSpc>
                <a:spcBef>
                  <a:spcPts val="218"/>
                </a:spcBef>
              </a:pPr>
              <a:r>
                <a:rPr lang="en-GB" sz="1450" kern="0" dirty="0">
                  <a:solidFill>
                    <a:srgbClr val="DBFF51"/>
                  </a:solidFill>
                  <a:latin typeface="UKCEH Suisse" panose="020B0504000000000000" pitchFamily="34" charset="-78"/>
                  <a:cs typeface="UKCEH Suisse" panose="020B0504000000000000" pitchFamily="34" charset="-78"/>
                </a:rPr>
                <a:t>Our planet. Decoded</a:t>
              </a:r>
              <a:r>
                <a:rPr sz="1450" kern="0" spc="-6" dirty="0">
                  <a:solidFill>
                    <a:srgbClr val="DBFF51"/>
                  </a:solidFill>
                  <a:latin typeface="UKCEH Suisse" panose="020B0504000000000000" pitchFamily="34" charset="-78"/>
                  <a:cs typeface="UKCEH Suisse" panose="020B0504000000000000" pitchFamily="34" charset="-78"/>
                </a:rPr>
                <a:t>.</a:t>
              </a:r>
              <a:endParaRPr sz="1450" kern="0" dirty="0">
                <a:solidFill>
                  <a:sysClr val="windowText" lastClr="000000"/>
                </a:solidFill>
                <a:latin typeface="UKCEH Suisse" panose="020B0504000000000000" pitchFamily="34" charset="-78"/>
                <a:cs typeface="UKCEH Suisse" panose="020B0504000000000000" pitchFamily="34" charset="-78"/>
              </a:endParaRPr>
            </a:p>
          </p:txBody>
        </p:sp>
      </p:grpSp>
      <p:sp>
        <p:nvSpPr>
          <p:cNvPr id="38" name="Content Placeholder 37">
            <a:extLst>
              <a:ext uri="{FF2B5EF4-FFF2-40B4-BE49-F238E27FC236}">
                <a16:creationId xmlns:a16="http://schemas.microsoft.com/office/drawing/2014/main" id="{4A4C3D98-3DC2-4C00-6BA1-FB8398880F6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1800" y="464721"/>
            <a:ext cx="6724649" cy="1630779"/>
          </a:xfrm>
        </p:spPr>
        <p:txBody>
          <a:bodyPr/>
          <a:lstStyle>
            <a:lvl1pPr>
              <a:lnSpc>
                <a:spcPct val="75000"/>
              </a:lnSpc>
              <a:spcBef>
                <a:spcPts val="1600"/>
              </a:spcBef>
              <a:spcAft>
                <a:spcPts val="0"/>
              </a:spcAft>
              <a:buFontTx/>
              <a:buNone/>
              <a:defRPr sz="5400" spc="-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76000"/>
              </a:lnSpc>
              <a:spcBef>
                <a:spcPts val="1600"/>
              </a:spcBef>
              <a:buFontTx/>
              <a:buNone/>
              <a:defRPr sz="8800" spc="-300" baseline="0">
                <a:solidFill>
                  <a:schemeClr val="bg1"/>
                </a:solidFill>
                <a:latin typeface="+mn-lt"/>
              </a:defRPr>
            </a:lvl2pPr>
            <a:lvl3pPr>
              <a:buFontTx/>
              <a:buNone/>
              <a:defRPr>
                <a:solidFill>
                  <a:schemeClr val="bg1"/>
                </a:solidFill>
              </a:defRPr>
            </a:lvl3pPr>
            <a:lvl4pPr>
              <a:buFontTx/>
              <a:buNone/>
              <a:defRPr>
                <a:solidFill>
                  <a:schemeClr val="bg1"/>
                </a:solidFill>
              </a:defRPr>
            </a:lvl4pPr>
            <a:lvl5pPr>
              <a:buFontTx/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Title 1 54 pt</a:t>
            </a:r>
          </a:p>
          <a:p>
            <a:pPr lvl="1"/>
            <a:r>
              <a:rPr lang="en-US" dirty="0"/>
              <a:t>Title 2 88p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A40F34E-B8BF-70D7-C07A-B9F2337D4765}"/>
              </a:ext>
            </a:extLst>
          </p:cNvPr>
          <p:cNvSpPr/>
          <p:nvPr userDrawn="1"/>
        </p:nvSpPr>
        <p:spPr>
          <a:xfrm>
            <a:off x="440035" y="2753127"/>
            <a:ext cx="72000" cy="165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B7D5D87-19D6-AB68-11C2-7D8D19E1A9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0201" y="2735171"/>
            <a:ext cx="4659595" cy="716273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800" spc="-8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800" spc="-40" baseline="0"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Presentation subtitle 28pt goes here over two lines.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8257085F-D0E4-D339-8B75-A2DEB1453C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201" y="3672791"/>
            <a:ext cx="3497262" cy="745625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2200" spc="-40" baseline="0">
                <a:solidFill>
                  <a:schemeClr val="bg1"/>
                </a:solidFill>
              </a:defRPr>
            </a:lvl1pPr>
            <a:lvl2pPr>
              <a:buNone/>
              <a:defRPr sz="1400" cap="all" spc="30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22pt Body Copy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20155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53F0DE9-6E35-36A4-6D01-CA96336D5BC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sX0" fmla="*/ 539046 w 12192000"/>
              <a:gd name="csY0" fmla="*/ 2428875 h 6858000"/>
              <a:gd name="csX1" fmla="*/ 431800 w 12192000"/>
              <a:gd name="csY1" fmla="*/ 2536121 h 6858000"/>
              <a:gd name="csX2" fmla="*/ 431800 w 12192000"/>
              <a:gd name="csY2" fmla="*/ 6347392 h 6858000"/>
              <a:gd name="csX3" fmla="*/ 539046 w 12192000"/>
              <a:gd name="csY3" fmla="*/ 6454638 h 6858000"/>
              <a:gd name="csX4" fmla="*/ 9173280 w 12192000"/>
              <a:gd name="csY4" fmla="*/ 6454638 h 6858000"/>
              <a:gd name="csX5" fmla="*/ 9280526 w 12192000"/>
              <a:gd name="csY5" fmla="*/ 6347392 h 6858000"/>
              <a:gd name="csX6" fmla="*/ 9280526 w 12192000"/>
              <a:gd name="csY6" fmla="*/ 2536121 h 6858000"/>
              <a:gd name="csX7" fmla="*/ 9173280 w 12192000"/>
              <a:gd name="csY7" fmla="*/ 2428875 h 6858000"/>
              <a:gd name="csX8" fmla="*/ 0 w 12192000"/>
              <a:gd name="csY8" fmla="*/ 0 h 6858000"/>
              <a:gd name="csX9" fmla="*/ 12192000 w 12192000"/>
              <a:gd name="csY9" fmla="*/ 0 h 6858000"/>
              <a:gd name="csX10" fmla="*/ 12192000 w 12192000"/>
              <a:gd name="csY10" fmla="*/ 6858000 h 6858000"/>
              <a:gd name="csX11" fmla="*/ 0 w 12192000"/>
              <a:gd name="csY11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2192000" h="6858000">
                <a:moveTo>
                  <a:pt x="539046" y="2428875"/>
                </a:moveTo>
                <a:cubicBezTo>
                  <a:pt x="479816" y="2428875"/>
                  <a:pt x="431800" y="2476891"/>
                  <a:pt x="431800" y="2536121"/>
                </a:cubicBezTo>
                <a:lnTo>
                  <a:pt x="431800" y="6347392"/>
                </a:lnTo>
                <a:cubicBezTo>
                  <a:pt x="431800" y="6406622"/>
                  <a:pt x="479816" y="6454638"/>
                  <a:pt x="539046" y="6454638"/>
                </a:cubicBezTo>
                <a:lnTo>
                  <a:pt x="9173280" y="6454638"/>
                </a:lnTo>
                <a:cubicBezTo>
                  <a:pt x="9232510" y="6454638"/>
                  <a:pt x="9280526" y="6406622"/>
                  <a:pt x="9280526" y="6347392"/>
                </a:cubicBezTo>
                <a:lnTo>
                  <a:pt x="9280526" y="2536121"/>
                </a:lnTo>
                <a:cubicBezTo>
                  <a:pt x="9280526" y="2476891"/>
                  <a:pt x="9232510" y="2428875"/>
                  <a:pt x="9173280" y="2428875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</p:spPr>
        <p:txBody>
          <a:bodyPr wrap="square">
            <a:noAutofit/>
          </a:bodyPr>
          <a:lstStyle>
            <a:lvl1pPr algn="l">
              <a:spcBef>
                <a:spcPts val="0"/>
              </a:spcBef>
              <a:defRPr sz="1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   This is a custom shape image placeholder. </a:t>
            </a:r>
            <a:br>
              <a:rPr lang="en-US" dirty="0"/>
            </a:br>
            <a:r>
              <a:rPr lang="en-US" dirty="0"/>
              <a:t>   Browse to image, paste image or drag and drop. </a:t>
            </a:r>
            <a:br>
              <a:rPr lang="en-US" dirty="0"/>
            </a:br>
            <a:r>
              <a:rPr lang="en-US" dirty="0"/>
              <a:t>   Reset slide to reset shape.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2670597-6755-37E6-5611-30798D4E11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812" y="2762251"/>
            <a:ext cx="8140699" cy="1518086"/>
          </a:xfrm>
        </p:spPr>
        <p:txBody>
          <a:bodyPr/>
          <a:lstStyle>
            <a:lvl1pPr>
              <a:lnSpc>
                <a:spcPct val="72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</a:t>
            </a:r>
            <a:br>
              <a:rPr lang="en-US" dirty="0"/>
            </a:br>
            <a:r>
              <a:rPr lang="en-US" dirty="0"/>
              <a:t>styl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1EA995AA-43C4-455F-70A2-AAD27EA097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6763" y="4760914"/>
            <a:ext cx="5329237" cy="944796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400" spc="-8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800" spc="-40" baseline="0"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Presentation subtitle goes here over two lines if required.</a:t>
            </a:r>
          </a:p>
        </p:txBody>
      </p:sp>
      <p:sp>
        <p:nvSpPr>
          <p:cNvPr id="6" name="Text Placeholder 44">
            <a:extLst>
              <a:ext uri="{FF2B5EF4-FFF2-40B4-BE49-F238E27FC236}">
                <a16:creationId xmlns:a16="http://schemas.microsoft.com/office/drawing/2014/main" id="{2BE112C2-7135-E7AA-96CD-00247DF94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6762" y="5695792"/>
            <a:ext cx="5329237" cy="43361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2000" spc="-40" baseline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buNone/>
              <a:defRPr sz="1200" cap="all" spc="30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3B75748-74B3-1BD5-4726-0F046B2022A3}"/>
              </a:ext>
            </a:extLst>
          </p:cNvPr>
          <p:cNvCxnSpPr/>
          <p:nvPr userDrawn="1"/>
        </p:nvCxnSpPr>
        <p:spPr>
          <a:xfrm>
            <a:off x="752300" y="4520625"/>
            <a:ext cx="81407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4726BA1-FA6F-6D12-8ADC-C30F775413D7}"/>
              </a:ext>
            </a:extLst>
          </p:cNvPr>
          <p:cNvGrpSpPr/>
          <p:nvPr userDrawn="1"/>
        </p:nvGrpSpPr>
        <p:grpSpPr>
          <a:xfrm>
            <a:off x="6441163" y="5754822"/>
            <a:ext cx="2451837" cy="413565"/>
            <a:chOff x="6346893" y="5867946"/>
            <a:chExt cx="2451837" cy="413565"/>
          </a:xfrm>
        </p:grpSpPr>
        <p:sp>
          <p:nvSpPr>
            <p:cNvPr id="16" name="object 8">
              <a:extLst>
                <a:ext uri="{FF2B5EF4-FFF2-40B4-BE49-F238E27FC236}">
                  <a16:creationId xmlns:a16="http://schemas.microsoft.com/office/drawing/2014/main" id="{1E5400A1-6698-AE69-A145-A0525BC418BC}"/>
                </a:ext>
              </a:extLst>
            </p:cNvPr>
            <p:cNvSpPr/>
            <p:nvPr/>
          </p:nvSpPr>
          <p:spPr>
            <a:xfrm>
              <a:off x="6828645" y="5947946"/>
              <a:ext cx="1083187" cy="251832"/>
            </a:xfrm>
            <a:custGeom>
              <a:avLst/>
              <a:gdLst/>
              <a:ahLst/>
              <a:cxnLst/>
              <a:rect l="l" t="t" r="r" b="b"/>
              <a:pathLst>
                <a:path w="1786255" h="415290">
                  <a:moveTo>
                    <a:pt x="56364" y="7183"/>
                  </a:moveTo>
                  <a:lnTo>
                    <a:pt x="0" y="7183"/>
                  </a:lnTo>
                  <a:lnTo>
                    <a:pt x="0" y="244840"/>
                  </a:lnTo>
                  <a:lnTo>
                    <a:pt x="4116" y="300816"/>
                  </a:lnTo>
                  <a:lnTo>
                    <a:pt x="16721" y="344480"/>
                  </a:lnTo>
                  <a:lnTo>
                    <a:pt x="38200" y="376784"/>
                  </a:lnTo>
                  <a:lnTo>
                    <a:pt x="109316" y="411120"/>
                  </a:lnTo>
                  <a:lnTo>
                    <a:pt x="159722" y="415055"/>
                  </a:lnTo>
                  <a:lnTo>
                    <a:pt x="212167" y="410254"/>
                  </a:lnTo>
                  <a:lnTo>
                    <a:pt x="253389" y="395812"/>
                  </a:lnTo>
                  <a:lnTo>
                    <a:pt x="284141" y="371668"/>
                  </a:lnTo>
                  <a:lnTo>
                    <a:pt x="287398" y="366418"/>
                  </a:lnTo>
                  <a:lnTo>
                    <a:pt x="159722" y="366418"/>
                  </a:lnTo>
                  <a:lnTo>
                    <a:pt x="111865" y="359484"/>
                  </a:lnTo>
                  <a:lnTo>
                    <a:pt x="79858" y="338302"/>
                  </a:lnTo>
                  <a:lnTo>
                    <a:pt x="61945" y="302299"/>
                  </a:lnTo>
                  <a:lnTo>
                    <a:pt x="56364" y="250903"/>
                  </a:lnTo>
                  <a:lnTo>
                    <a:pt x="56364" y="7183"/>
                  </a:lnTo>
                  <a:close/>
                </a:path>
                <a:path w="1786255" h="415290">
                  <a:moveTo>
                    <a:pt x="321100" y="7183"/>
                  </a:moveTo>
                  <a:lnTo>
                    <a:pt x="264724" y="7183"/>
                  </a:lnTo>
                  <a:lnTo>
                    <a:pt x="264724" y="244840"/>
                  </a:lnTo>
                  <a:lnTo>
                    <a:pt x="259120" y="297170"/>
                  </a:lnTo>
                  <a:lnTo>
                    <a:pt x="241029" y="335259"/>
                  </a:lnTo>
                  <a:lnTo>
                    <a:pt x="208535" y="358532"/>
                  </a:lnTo>
                  <a:lnTo>
                    <a:pt x="159722" y="366418"/>
                  </a:lnTo>
                  <a:lnTo>
                    <a:pt x="287398" y="366418"/>
                  </a:lnTo>
                  <a:lnTo>
                    <a:pt x="305175" y="337760"/>
                  </a:lnTo>
                  <a:lnTo>
                    <a:pt x="317244" y="294028"/>
                  </a:lnTo>
                  <a:lnTo>
                    <a:pt x="321100" y="240411"/>
                  </a:lnTo>
                  <a:lnTo>
                    <a:pt x="321100" y="7183"/>
                  </a:lnTo>
                  <a:close/>
                </a:path>
                <a:path w="1786255" h="415290">
                  <a:moveTo>
                    <a:pt x="449860" y="7183"/>
                  </a:moveTo>
                  <a:lnTo>
                    <a:pt x="393485" y="7183"/>
                  </a:lnTo>
                  <a:lnTo>
                    <a:pt x="393485" y="407861"/>
                  </a:lnTo>
                  <a:lnTo>
                    <a:pt x="449860" y="407861"/>
                  </a:lnTo>
                  <a:lnTo>
                    <a:pt x="449860" y="281855"/>
                  </a:lnTo>
                  <a:lnTo>
                    <a:pt x="512863" y="212223"/>
                  </a:lnTo>
                  <a:lnTo>
                    <a:pt x="580177" y="212223"/>
                  </a:lnTo>
                  <a:lnTo>
                    <a:pt x="577840" y="208904"/>
                  </a:lnTo>
                  <a:lnTo>
                    <a:pt x="449860" y="208904"/>
                  </a:lnTo>
                  <a:lnTo>
                    <a:pt x="449860" y="7183"/>
                  </a:lnTo>
                  <a:close/>
                </a:path>
                <a:path w="1786255" h="415290">
                  <a:moveTo>
                    <a:pt x="580177" y="212223"/>
                  </a:moveTo>
                  <a:lnTo>
                    <a:pt x="512863" y="212223"/>
                  </a:lnTo>
                  <a:lnTo>
                    <a:pt x="650482" y="407861"/>
                  </a:lnTo>
                  <a:lnTo>
                    <a:pt x="717915" y="407861"/>
                  </a:lnTo>
                  <a:lnTo>
                    <a:pt x="580177" y="212223"/>
                  </a:lnTo>
                  <a:close/>
                </a:path>
                <a:path w="1786255" h="415290">
                  <a:moveTo>
                    <a:pt x="700784" y="7183"/>
                  </a:moveTo>
                  <a:lnTo>
                    <a:pt x="630588" y="7183"/>
                  </a:lnTo>
                  <a:lnTo>
                    <a:pt x="449860" y="208904"/>
                  </a:lnTo>
                  <a:lnTo>
                    <a:pt x="577840" y="208904"/>
                  </a:lnTo>
                  <a:lnTo>
                    <a:pt x="550998" y="170780"/>
                  </a:lnTo>
                  <a:lnTo>
                    <a:pt x="700784" y="7183"/>
                  </a:lnTo>
                  <a:close/>
                </a:path>
                <a:path w="1786255" h="415290">
                  <a:moveTo>
                    <a:pt x="906359" y="0"/>
                  </a:moveTo>
                  <a:lnTo>
                    <a:pt x="860544" y="4952"/>
                  </a:lnTo>
                  <a:lnTo>
                    <a:pt x="820133" y="19321"/>
                  </a:lnTo>
                  <a:lnTo>
                    <a:pt x="785725" y="42372"/>
                  </a:lnTo>
                  <a:lnTo>
                    <a:pt x="757919" y="73369"/>
                  </a:lnTo>
                  <a:lnTo>
                    <a:pt x="737316" y="111579"/>
                  </a:lnTo>
                  <a:lnTo>
                    <a:pt x="724514" y="156265"/>
                  </a:lnTo>
                  <a:lnTo>
                    <a:pt x="720114" y="206695"/>
                  </a:lnTo>
                  <a:lnTo>
                    <a:pt x="724153" y="256521"/>
                  </a:lnTo>
                  <a:lnTo>
                    <a:pt x="736051" y="301175"/>
                  </a:lnTo>
                  <a:lnTo>
                    <a:pt x="755481" y="339748"/>
                  </a:lnTo>
                  <a:lnTo>
                    <a:pt x="782113" y="371332"/>
                  </a:lnTo>
                  <a:lnTo>
                    <a:pt x="815619" y="395016"/>
                  </a:lnTo>
                  <a:lnTo>
                    <a:pt x="855671" y="409894"/>
                  </a:lnTo>
                  <a:lnTo>
                    <a:pt x="901941" y="415055"/>
                  </a:lnTo>
                  <a:lnTo>
                    <a:pt x="951607" y="409519"/>
                  </a:lnTo>
                  <a:lnTo>
                    <a:pt x="995412" y="393053"/>
                  </a:lnTo>
                  <a:lnTo>
                    <a:pt x="1029522" y="367528"/>
                  </a:lnTo>
                  <a:lnTo>
                    <a:pt x="905249" y="367528"/>
                  </a:lnTo>
                  <a:lnTo>
                    <a:pt x="863324" y="360564"/>
                  </a:lnTo>
                  <a:lnTo>
                    <a:pt x="828083" y="340202"/>
                  </a:lnTo>
                  <a:lnTo>
                    <a:pt x="801039" y="307239"/>
                  </a:lnTo>
                  <a:lnTo>
                    <a:pt x="783703" y="262472"/>
                  </a:lnTo>
                  <a:lnTo>
                    <a:pt x="777588" y="206695"/>
                  </a:lnTo>
                  <a:lnTo>
                    <a:pt x="783902" y="150243"/>
                  </a:lnTo>
                  <a:lnTo>
                    <a:pt x="801569" y="105782"/>
                  </a:lnTo>
                  <a:lnTo>
                    <a:pt x="828680" y="73630"/>
                  </a:lnTo>
                  <a:lnTo>
                    <a:pt x="863326" y="54106"/>
                  </a:lnTo>
                  <a:lnTo>
                    <a:pt x="903595" y="47527"/>
                  </a:lnTo>
                  <a:lnTo>
                    <a:pt x="1027140" y="47527"/>
                  </a:lnTo>
                  <a:lnTo>
                    <a:pt x="995829" y="22797"/>
                  </a:lnTo>
                  <a:lnTo>
                    <a:pt x="953853" y="5801"/>
                  </a:lnTo>
                  <a:lnTo>
                    <a:pt x="906359" y="0"/>
                  </a:lnTo>
                  <a:close/>
                </a:path>
                <a:path w="1786255" h="415290">
                  <a:moveTo>
                    <a:pt x="1075475" y="280200"/>
                  </a:moveTo>
                  <a:lnTo>
                    <a:pt x="1020754" y="280200"/>
                  </a:lnTo>
                  <a:lnTo>
                    <a:pt x="1006364" y="315526"/>
                  </a:lnTo>
                  <a:lnTo>
                    <a:pt x="982281" y="343136"/>
                  </a:lnTo>
                  <a:lnTo>
                    <a:pt x="948559" y="361110"/>
                  </a:lnTo>
                  <a:lnTo>
                    <a:pt x="905249" y="367528"/>
                  </a:lnTo>
                  <a:lnTo>
                    <a:pt x="1029522" y="367528"/>
                  </a:lnTo>
                  <a:lnTo>
                    <a:pt x="1031738" y="365869"/>
                  </a:lnTo>
                  <a:lnTo>
                    <a:pt x="1058965" y="328181"/>
                  </a:lnTo>
                  <a:lnTo>
                    <a:pt x="1075475" y="280200"/>
                  </a:lnTo>
                  <a:close/>
                </a:path>
                <a:path w="1786255" h="415290">
                  <a:moveTo>
                    <a:pt x="1027140" y="47527"/>
                  </a:moveTo>
                  <a:lnTo>
                    <a:pt x="903595" y="47527"/>
                  </a:lnTo>
                  <a:lnTo>
                    <a:pt x="946750" y="54106"/>
                  </a:lnTo>
                  <a:lnTo>
                    <a:pt x="980553" y="72330"/>
                  </a:lnTo>
                  <a:lnTo>
                    <a:pt x="1004627" y="99988"/>
                  </a:lnTo>
                  <a:lnTo>
                    <a:pt x="1018544" y="134844"/>
                  </a:lnTo>
                  <a:lnTo>
                    <a:pt x="1073265" y="134844"/>
                  </a:lnTo>
                  <a:lnTo>
                    <a:pt x="1057074" y="87929"/>
                  </a:lnTo>
                  <a:lnTo>
                    <a:pt x="1030749" y="50377"/>
                  </a:lnTo>
                  <a:lnTo>
                    <a:pt x="1027140" y="47527"/>
                  </a:lnTo>
                  <a:close/>
                </a:path>
                <a:path w="1786255" h="415290">
                  <a:moveTo>
                    <a:pt x="1401548" y="7183"/>
                  </a:moveTo>
                  <a:lnTo>
                    <a:pt x="1129640" y="7183"/>
                  </a:lnTo>
                  <a:lnTo>
                    <a:pt x="1129640" y="407861"/>
                  </a:lnTo>
                  <a:lnTo>
                    <a:pt x="1401548" y="407861"/>
                  </a:lnTo>
                  <a:lnTo>
                    <a:pt x="1401548" y="359235"/>
                  </a:lnTo>
                  <a:lnTo>
                    <a:pt x="1186005" y="359235"/>
                  </a:lnTo>
                  <a:lnTo>
                    <a:pt x="1186005" y="226035"/>
                  </a:lnTo>
                  <a:lnTo>
                    <a:pt x="1388837" y="226035"/>
                  </a:lnTo>
                  <a:lnTo>
                    <a:pt x="1388837" y="177408"/>
                  </a:lnTo>
                  <a:lnTo>
                    <a:pt x="1186005" y="177408"/>
                  </a:lnTo>
                  <a:lnTo>
                    <a:pt x="1186005" y="55820"/>
                  </a:lnTo>
                  <a:lnTo>
                    <a:pt x="1401548" y="55820"/>
                  </a:lnTo>
                  <a:lnTo>
                    <a:pt x="1401548" y="7183"/>
                  </a:lnTo>
                  <a:close/>
                </a:path>
                <a:path w="1786255" h="415290">
                  <a:moveTo>
                    <a:pt x="1519262" y="7183"/>
                  </a:moveTo>
                  <a:lnTo>
                    <a:pt x="1462887" y="7183"/>
                  </a:lnTo>
                  <a:lnTo>
                    <a:pt x="1462887" y="407861"/>
                  </a:lnTo>
                  <a:lnTo>
                    <a:pt x="1519262" y="407861"/>
                  </a:lnTo>
                  <a:lnTo>
                    <a:pt x="1519262" y="226035"/>
                  </a:lnTo>
                  <a:lnTo>
                    <a:pt x="1786196" y="226035"/>
                  </a:lnTo>
                  <a:lnTo>
                    <a:pt x="1786196" y="177408"/>
                  </a:lnTo>
                  <a:lnTo>
                    <a:pt x="1519262" y="177408"/>
                  </a:lnTo>
                  <a:lnTo>
                    <a:pt x="1519262" y="7183"/>
                  </a:lnTo>
                  <a:close/>
                </a:path>
                <a:path w="1786255" h="415290">
                  <a:moveTo>
                    <a:pt x="1786196" y="226035"/>
                  </a:moveTo>
                  <a:lnTo>
                    <a:pt x="1729832" y="226035"/>
                  </a:lnTo>
                  <a:lnTo>
                    <a:pt x="1729832" y="407861"/>
                  </a:lnTo>
                  <a:lnTo>
                    <a:pt x="1786196" y="407861"/>
                  </a:lnTo>
                  <a:lnTo>
                    <a:pt x="1786196" y="226035"/>
                  </a:lnTo>
                  <a:close/>
                </a:path>
                <a:path w="1786255" h="415290">
                  <a:moveTo>
                    <a:pt x="1786196" y="7183"/>
                  </a:moveTo>
                  <a:lnTo>
                    <a:pt x="1729832" y="7183"/>
                  </a:lnTo>
                  <a:lnTo>
                    <a:pt x="1729832" y="177408"/>
                  </a:lnTo>
                  <a:lnTo>
                    <a:pt x="1786196" y="177408"/>
                  </a:lnTo>
                  <a:lnTo>
                    <a:pt x="1786196" y="718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7" name="object 9">
              <a:extLst>
                <a:ext uri="{FF2B5EF4-FFF2-40B4-BE49-F238E27FC236}">
                  <a16:creationId xmlns:a16="http://schemas.microsoft.com/office/drawing/2014/main" id="{CCC023B5-BFAE-0FCC-308D-7AC2BA692189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526307" y="5867946"/>
              <a:ext cx="54739" cy="54745"/>
            </a:xfrm>
            <a:prstGeom prst="rect">
              <a:avLst/>
            </a:prstGeom>
          </p:spPr>
        </p:pic>
        <p:pic>
          <p:nvPicPr>
            <p:cNvPr id="18" name="object 10">
              <a:extLst>
                <a:ext uri="{FF2B5EF4-FFF2-40B4-BE49-F238E27FC236}">
                  <a16:creationId xmlns:a16="http://schemas.microsoft.com/office/drawing/2014/main" id="{3DF6C9EA-67CB-70DB-57F0-7AC61D9FACFA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526307" y="6226766"/>
              <a:ext cx="54739" cy="54745"/>
            </a:xfrm>
            <a:prstGeom prst="rect">
              <a:avLst/>
            </a:prstGeom>
          </p:spPr>
        </p:pic>
        <p:sp>
          <p:nvSpPr>
            <p:cNvPr id="19" name="object 11">
              <a:extLst>
                <a:ext uri="{FF2B5EF4-FFF2-40B4-BE49-F238E27FC236}">
                  <a16:creationId xmlns:a16="http://schemas.microsoft.com/office/drawing/2014/main" id="{BE6E6EA1-53C0-8B17-BF0F-BFFB10C41AAB}"/>
                </a:ext>
              </a:extLst>
            </p:cNvPr>
            <p:cNvSpPr/>
            <p:nvPr/>
          </p:nvSpPr>
          <p:spPr>
            <a:xfrm>
              <a:off x="6371129" y="5892193"/>
              <a:ext cx="365426" cy="365426"/>
            </a:xfrm>
            <a:custGeom>
              <a:avLst/>
              <a:gdLst/>
              <a:ahLst/>
              <a:cxnLst/>
              <a:rect l="l" t="t" r="r" b="b"/>
              <a:pathLst>
                <a:path w="602615" h="602615">
                  <a:moveTo>
                    <a:pt x="89611" y="158661"/>
                  </a:moveTo>
                  <a:lnTo>
                    <a:pt x="88404" y="141401"/>
                  </a:lnTo>
                  <a:lnTo>
                    <a:pt x="80810" y="125857"/>
                  </a:lnTo>
                  <a:lnTo>
                    <a:pt x="67373" y="114007"/>
                  </a:lnTo>
                  <a:lnTo>
                    <a:pt x="50380" y="108292"/>
                  </a:lnTo>
                  <a:lnTo>
                    <a:pt x="33121" y="109499"/>
                  </a:lnTo>
                  <a:lnTo>
                    <a:pt x="17576" y="117081"/>
                  </a:lnTo>
                  <a:lnTo>
                    <a:pt x="5715" y="130530"/>
                  </a:lnTo>
                  <a:lnTo>
                    <a:pt x="0" y="147510"/>
                  </a:lnTo>
                  <a:lnTo>
                    <a:pt x="1206" y="164782"/>
                  </a:lnTo>
                  <a:lnTo>
                    <a:pt x="8801" y="180327"/>
                  </a:lnTo>
                  <a:lnTo>
                    <a:pt x="22237" y="192176"/>
                  </a:lnTo>
                  <a:lnTo>
                    <a:pt x="39217" y="197891"/>
                  </a:lnTo>
                  <a:lnTo>
                    <a:pt x="56489" y="196684"/>
                  </a:lnTo>
                  <a:lnTo>
                    <a:pt x="72034" y="189103"/>
                  </a:lnTo>
                  <a:lnTo>
                    <a:pt x="83896" y="175653"/>
                  </a:lnTo>
                  <a:lnTo>
                    <a:pt x="89611" y="158661"/>
                  </a:lnTo>
                  <a:close/>
                </a:path>
                <a:path w="602615" h="602615">
                  <a:moveTo>
                    <a:pt x="197904" y="39217"/>
                  </a:moveTo>
                  <a:lnTo>
                    <a:pt x="192189" y="22225"/>
                  </a:lnTo>
                  <a:lnTo>
                    <a:pt x="180327" y="8788"/>
                  </a:lnTo>
                  <a:lnTo>
                    <a:pt x="164782" y="1206"/>
                  </a:lnTo>
                  <a:lnTo>
                    <a:pt x="147523" y="0"/>
                  </a:lnTo>
                  <a:lnTo>
                    <a:pt x="130530" y="5702"/>
                  </a:lnTo>
                  <a:lnTo>
                    <a:pt x="117094" y="17564"/>
                  </a:lnTo>
                  <a:lnTo>
                    <a:pt x="109499" y="33121"/>
                  </a:lnTo>
                  <a:lnTo>
                    <a:pt x="108305" y="50380"/>
                  </a:lnTo>
                  <a:lnTo>
                    <a:pt x="114007" y="67373"/>
                  </a:lnTo>
                  <a:lnTo>
                    <a:pt x="125869" y="80810"/>
                  </a:lnTo>
                  <a:lnTo>
                    <a:pt x="141414" y="88392"/>
                  </a:lnTo>
                  <a:lnTo>
                    <a:pt x="158673" y="89598"/>
                  </a:lnTo>
                  <a:lnTo>
                    <a:pt x="175666" y="83883"/>
                  </a:lnTo>
                  <a:lnTo>
                    <a:pt x="189103" y="72034"/>
                  </a:lnTo>
                  <a:lnTo>
                    <a:pt x="196697" y="56476"/>
                  </a:lnTo>
                  <a:lnTo>
                    <a:pt x="197904" y="39217"/>
                  </a:lnTo>
                  <a:close/>
                </a:path>
                <a:path w="602615" h="602615">
                  <a:moveTo>
                    <a:pt x="493763" y="551662"/>
                  </a:moveTo>
                  <a:lnTo>
                    <a:pt x="488048" y="534670"/>
                  </a:lnTo>
                  <a:lnTo>
                    <a:pt x="476199" y="521233"/>
                  </a:lnTo>
                  <a:lnTo>
                    <a:pt x="460641" y="513651"/>
                  </a:lnTo>
                  <a:lnTo>
                    <a:pt x="443382" y="512445"/>
                  </a:lnTo>
                  <a:lnTo>
                    <a:pt x="426389" y="518160"/>
                  </a:lnTo>
                  <a:lnTo>
                    <a:pt x="412953" y="530009"/>
                  </a:lnTo>
                  <a:lnTo>
                    <a:pt x="405358" y="545566"/>
                  </a:lnTo>
                  <a:lnTo>
                    <a:pt x="404164" y="562825"/>
                  </a:lnTo>
                  <a:lnTo>
                    <a:pt x="409867" y="579805"/>
                  </a:lnTo>
                  <a:lnTo>
                    <a:pt x="421728" y="593255"/>
                  </a:lnTo>
                  <a:lnTo>
                    <a:pt x="437273" y="600837"/>
                  </a:lnTo>
                  <a:lnTo>
                    <a:pt x="454533" y="602043"/>
                  </a:lnTo>
                  <a:lnTo>
                    <a:pt x="471525" y="596341"/>
                  </a:lnTo>
                  <a:lnTo>
                    <a:pt x="484962" y="584479"/>
                  </a:lnTo>
                  <a:lnTo>
                    <a:pt x="492556" y="568921"/>
                  </a:lnTo>
                  <a:lnTo>
                    <a:pt x="493763" y="551662"/>
                  </a:lnTo>
                  <a:close/>
                </a:path>
                <a:path w="602615" h="602615">
                  <a:moveTo>
                    <a:pt x="602056" y="454520"/>
                  </a:moveTo>
                  <a:lnTo>
                    <a:pt x="600849" y="437261"/>
                  </a:lnTo>
                  <a:lnTo>
                    <a:pt x="593267" y="421716"/>
                  </a:lnTo>
                  <a:lnTo>
                    <a:pt x="579818" y="409867"/>
                  </a:lnTo>
                  <a:lnTo>
                    <a:pt x="562838" y="404152"/>
                  </a:lnTo>
                  <a:lnTo>
                    <a:pt x="545566" y="405358"/>
                  </a:lnTo>
                  <a:lnTo>
                    <a:pt x="530021" y="412940"/>
                  </a:lnTo>
                  <a:lnTo>
                    <a:pt x="518160" y="426389"/>
                  </a:lnTo>
                  <a:lnTo>
                    <a:pt x="512445" y="443369"/>
                  </a:lnTo>
                  <a:lnTo>
                    <a:pt x="513651" y="460641"/>
                  </a:lnTo>
                  <a:lnTo>
                    <a:pt x="521246" y="476186"/>
                  </a:lnTo>
                  <a:lnTo>
                    <a:pt x="534682" y="488035"/>
                  </a:lnTo>
                  <a:lnTo>
                    <a:pt x="551675" y="493750"/>
                  </a:lnTo>
                  <a:lnTo>
                    <a:pt x="568934" y="492544"/>
                  </a:lnTo>
                  <a:lnTo>
                    <a:pt x="584479" y="484962"/>
                  </a:lnTo>
                  <a:lnTo>
                    <a:pt x="596341" y="471512"/>
                  </a:lnTo>
                  <a:lnTo>
                    <a:pt x="602056" y="45452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0" name="object 12">
              <a:extLst>
                <a:ext uri="{FF2B5EF4-FFF2-40B4-BE49-F238E27FC236}">
                  <a16:creationId xmlns:a16="http://schemas.microsoft.com/office/drawing/2014/main" id="{080A8AD1-86D2-469A-1E76-B11B422B284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346893" y="6047359"/>
              <a:ext cx="54745" cy="54739"/>
            </a:xfrm>
            <a:prstGeom prst="rect">
              <a:avLst/>
            </a:prstGeom>
          </p:spPr>
        </p:pic>
        <p:pic>
          <p:nvPicPr>
            <p:cNvPr id="21" name="object 13">
              <a:extLst>
                <a:ext uri="{FF2B5EF4-FFF2-40B4-BE49-F238E27FC236}">
                  <a16:creationId xmlns:a16="http://schemas.microsoft.com/office/drawing/2014/main" id="{E3E358F4-6D31-6A05-D6A1-6378A0E7EAFF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705714" y="6047359"/>
              <a:ext cx="54745" cy="54739"/>
            </a:xfrm>
            <a:prstGeom prst="rect">
              <a:avLst/>
            </a:prstGeom>
          </p:spPr>
        </p:pic>
        <p:sp>
          <p:nvSpPr>
            <p:cNvPr id="22" name="object 14">
              <a:extLst>
                <a:ext uri="{FF2B5EF4-FFF2-40B4-BE49-F238E27FC236}">
                  <a16:creationId xmlns:a16="http://schemas.microsoft.com/office/drawing/2014/main" id="{1A1EC3BF-4898-155E-DC2E-3270233F5432}"/>
                </a:ext>
              </a:extLst>
            </p:cNvPr>
            <p:cNvSpPr/>
            <p:nvPr/>
          </p:nvSpPr>
          <p:spPr>
            <a:xfrm>
              <a:off x="6371129" y="5892193"/>
              <a:ext cx="365426" cy="365426"/>
            </a:xfrm>
            <a:custGeom>
              <a:avLst/>
              <a:gdLst/>
              <a:ahLst/>
              <a:cxnLst/>
              <a:rect l="l" t="t" r="r" b="b"/>
              <a:pathLst>
                <a:path w="602615" h="602615">
                  <a:moveTo>
                    <a:pt x="89611" y="443382"/>
                  </a:moveTo>
                  <a:lnTo>
                    <a:pt x="83896" y="426389"/>
                  </a:lnTo>
                  <a:lnTo>
                    <a:pt x="72034" y="412940"/>
                  </a:lnTo>
                  <a:lnTo>
                    <a:pt x="56489" y="405358"/>
                  </a:lnTo>
                  <a:lnTo>
                    <a:pt x="39230" y="404152"/>
                  </a:lnTo>
                  <a:lnTo>
                    <a:pt x="22237" y="409867"/>
                  </a:lnTo>
                  <a:lnTo>
                    <a:pt x="8801" y="421716"/>
                  </a:lnTo>
                  <a:lnTo>
                    <a:pt x="1206" y="437261"/>
                  </a:lnTo>
                  <a:lnTo>
                    <a:pt x="0" y="454533"/>
                  </a:lnTo>
                  <a:lnTo>
                    <a:pt x="5715" y="471512"/>
                  </a:lnTo>
                  <a:lnTo>
                    <a:pt x="17576" y="484962"/>
                  </a:lnTo>
                  <a:lnTo>
                    <a:pt x="33121" y="492544"/>
                  </a:lnTo>
                  <a:lnTo>
                    <a:pt x="50393" y="493750"/>
                  </a:lnTo>
                  <a:lnTo>
                    <a:pt x="67373" y="488035"/>
                  </a:lnTo>
                  <a:lnTo>
                    <a:pt x="80810" y="476186"/>
                  </a:lnTo>
                  <a:lnTo>
                    <a:pt x="88404" y="460641"/>
                  </a:lnTo>
                  <a:lnTo>
                    <a:pt x="89611" y="443382"/>
                  </a:lnTo>
                  <a:close/>
                </a:path>
                <a:path w="602615" h="602615">
                  <a:moveTo>
                    <a:pt x="197891" y="562825"/>
                  </a:moveTo>
                  <a:lnTo>
                    <a:pt x="196697" y="545566"/>
                  </a:lnTo>
                  <a:lnTo>
                    <a:pt x="189103" y="530009"/>
                  </a:lnTo>
                  <a:lnTo>
                    <a:pt x="175666" y="518160"/>
                  </a:lnTo>
                  <a:lnTo>
                    <a:pt x="158673" y="512445"/>
                  </a:lnTo>
                  <a:lnTo>
                    <a:pt x="141414" y="513651"/>
                  </a:lnTo>
                  <a:lnTo>
                    <a:pt x="125869" y="521233"/>
                  </a:lnTo>
                  <a:lnTo>
                    <a:pt x="114007" y="534682"/>
                  </a:lnTo>
                  <a:lnTo>
                    <a:pt x="108292" y="551662"/>
                  </a:lnTo>
                  <a:lnTo>
                    <a:pt x="109499" y="568921"/>
                  </a:lnTo>
                  <a:lnTo>
                    <a:pt x="117094" y="584479"/>
                  </a:lnTo>
                  <a:lnTo>
                    <a:pt x="130530" y="596328"/>
                  </a:lnTo>
                  <a:lnTo>
                    <a:pt x="147523" y="602043"/>
                  </a:lnTo>
                  <a:lnTo>
                    <a:pt x="164782" y="600837"/>
                  </a:lnTo>
                  <a:lnTo>
                    <a:pt x="180327" y="593255"/>
                  </a:lnTo>
                  <a:lnTo>
                    <a:pt x="192189" y="579818"/>
                  </a:lnTo>
                  <a:lnTo>
                    <a:pt x="197891" y="562825"/>
                  </a:lnTo>
                  <a:close/>
                </a:path>
                <a:path w="602615" h="602615">
                  <a:moveTo>
                    <a:pt x="493763" y="50380"/>
                  </a:moveTo>
                  <a:lnTo>
                    <a:pt x="492556" y="33108"/>
                  </a:lnTo>
                  <a:lnTo>
                    <a:pt x="484962" y="17564"/>
                  </a:lnTo>
                  <a:lnTo>
                    <a:pt x="471525" y="5715"/>
                  </a:lnTo>
                  <a:lnTo>
                    <a:pt x="454533" y="0"/>
                  </a:lnTo>
                  <a:lnTo>
                    <a:pt x="437273" y="1193"/>
                  </a:lnTo>
                  <a:lnTo>
                    <a:pt x="421728" y="8788"/>
                  </a:lnTo>
                  <a:lnTo>
                    <a:pt x="409867" y="22225"/>
                  </a:lnTo>
                  <a:lnTo>
                    <a:pt x="404164" y="39217"/>
                  </a:lnTo>
                  <a:lnTo>
                    <a:pt x="405358" y="56476"/>
                  </a:lnTo>
                  <a:lnTo>
                    <a:pt x="412953" y="72034"/>
                  </a:lnTo>
                  <a:lnTo>
                    <a:pt x="426389" y="83883"/>
                  </a:lnTo>
                  <a:lnTo>
                    <a:pt x="443382" y="89598"/>
                  </a:lnTo>
                  <a:lnTo>
                    <a:pt x="460641" y="88392"/>
                  </a:lnTo>
                  <a:lnTo>
                    <a:pt x="476186" y="80810"/>
                  </a:lnTo>
                  <a:lnTo>
                    <a:pt x="488048" y="67360"/>
                  </a:lnTo>
                  <a:lnTo>
                    <a:pt x="493763" y="50380"/>
                  </a:lnTo>
                  <a:close/>
                </a:path>
                <a:path w="602615" h="602615">
                  <a:moveTo>
                    <a:pt x="602056" y="147510"/>
                  </a:moveTo>
                  <a:lnTo>
                    <a:pt x="596341" y="130530"/>
                  </a:lnTo>
                  <a:lnTo>
                    <a:pt x="584479" y="117081"/>
                  </a:lnTo>
                  <a:lnTo>
                    <a:pt x="568934" y="109499"/>
                  </a:lnTo>
                  <a:lnTo>
                    <a:pt x="551662" y="108292"/>
                  </a:lnTo>
                  <a:lnTo>
                    <a:pt x="534682" y="114007"/>
                  </a:lnTo>
                  <a:lnTo>
                    <a:pt x="521246" y="125857"/>
                  </a:lnTo>
                  <a:lnTo>
                    <a:pt x="513651" y="141401"/>
                  </a:lnTo>
                  <a:lnTo>
                    <a:pt x="512445" y="158661"/>
                  </a:lnTo>
                  <a:lnTo>
                    <a:pt x="518172" y="175653"/>
                  </a:lnTo>
                  <a:lnTo>
                    <a:pt x="530021" y="189103"/>
                  </a:lnTo>
                  <a:lnTo>
                    <a:pt x="545566" y="196684"/>
                  </a:lnTo>
                  <a:lnTo>
                    <a:pt x="562825" y="197891"/>
                  </a:lnTo>
                  <a:lnTo>
                    <a:pt x="579818" y="192176"/>
                  </a:lnTo>
                  <a:lnTo>
                    <a:pt x="593267" y="180327"/>
                  </a:lnTo>
                  <a:lnTo>
                    <a:pt x="600849" y="164769"/>
                  </a:lnTo>
                  <a:lnTo>
                    <a:pt x="602056" y="14751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3" name="object 15">
              <a:extLst>
                <a:ext uri="{FF2B5EF4-FFF2-40B4-BE49-F238E27FC236}">
                  <a16:creationId xmlns:a16="http://schemas.microsoft.com/office/drawing/2014/main" id="{44FC049C-3F97-D1C5-FAEB-738FCC9B1100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533148" y="5950598"/>
              <a:ext cx="41056" cy="41056"/>
            </a:xfrm>
            <a:prstGeom prst="rect">
              <a:avLst/>
            </a:prstGeom>
          </p:spPr>
        </p:pic>
        <p:pic>
          <p:nvPicPr>
            <p:cNvPr id="24" name="object 16">
              <a:extLst>
                <a:ext uri="{FF2B5EF4-FFF2-40B4-BE49-F238E27FC236}">
                  <a16:creationId xmlns:a16="http://schemas.microsoft.com/office/drawing/2014/main" id="{BC465F88-3242-ABE0-493A-07C1A0A710CE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533149" y="6157802"/>
              <a:ext cx="41056" cy="41056"/>
            </a:xfrm>
            <a:prstGeom prst="rect">
              <a:avLst/>
            </a:prstGeom>
          </p:spPr>
        </p:pic>
        <p:sp>
          <p:nvSpPr>
            <p:cNvPr id="26" name="object 17">
              <a:extLst>
                <a:ext uri="{FF2B5EF4-FFF2-40B4-BE49-F238E27FC236}">
                  <a16:creationId xmlns:a16="http://schemas.microsoft.com/office/drawing/2014/main" id="{5E53AC8B-5A2B-5DAA-257F-717CDA14AF16}"/>
                </a:ext>
              </a:extLst>
            </p:cNvPr>
            <p:cNvSpPr/>
            <p:nvPr/>
          </p:nvSpPr>
          <p:spPr>
            <a:xfrm>
              <a:off x="6459886" y="5980950"/>
              <a:ext cx="187912" cy="187911"/>
            </a:xfrm>
            <a:custGeom>
              <a:avLst/>
              <a:gdLst/>
              <a:ahLst/>
              <a:cxnLst/>
              <a:rect l="l" t="t" r="r" b="b"/>
              <a:pathLst>
                <a:path w="309879" h="309879">
                  <a:moveTo>
                    <a:pt x="67703" y="33845"/>
                  </a:moveTo>
                  <a:lnTo>
                    <a:pt x="65227" y="21107"/>
                  </a:lnTo>
                  <a:lnTo>
                    <a:pt x="57785" y="9906"/>
                  </a:lnTo>
                  <a:lnTo>
                    <a:pt x="46596" y="2476"/>
                  </a:lnTo>
                  <a:lnTo>
                    <a:pt x="33858" y="0"/>
                  </a:lnTo>
                  <a:lnTo>
                    <a:pt x="21107" y="2476"/>
                  </a:lnTo>
                  <a:lnTo>
                    <a:pt x="9918" y="9906"/>
                  </a:lnTo>
                  <a:lnTo>
                    <a:pt x="2476" y="21107"/>
                  </a:lnTo>
                  <a:lnTo>
                    <a:pt x="0" y="33845"/>
                  </a:lnTo>
                  <a:lnTo>
                    <a:pt x="2476" y="46583"/>
                  </a:lnTo>
                  <a:lnTo>
                    <a:pt x="9918" y="57785"/>
                  </a:lnTo>
                  <a:lnTo>
                    <a:pt x="21107" y="65227"/>
                  </a:lnTo>
                  <a:lnTo>
                    <a:pt x="33858" y="67703"/>
                  </a:lnTo>
                  <a:lnTo>
                    <a:pt x="46596" y="65227"/>
                  </a:lnTo>
                  <a:lnTo>
                    <a:pt x="57785" y="57785"/>
                  </a:lnTo>
                  <a:lnTo>
                    <a:pt x="65227" y="46583"/>
                  </a:lnTo>
                  <a:lnTo>
                    <a:pt x="67703" y="33845"/>
                  </a:lnTo>
                  <a:close/>
                </a:path>
                <a:path w="309879" h="309879">
                  <a:moveTo>
                    <a:pt x="309321" y="275463"/>
                  </a:moveTo>
                  <a:lnTo>
                    <a:pt x="306844" y="262724"/>
                  </a:lnTo>
                  <a:lnTo>
                    <a:pt x="299402" y="251523"/>
                  </a:lnTo>
                  <a:lnTo>
                    <a:pt x="288213" y="244081"/>
                  </a:lnTo>
                  <a:lnTo>
                    <a:pt x="275463" y="241604"/>
                  </a:lnTo>
                  <a:lnTo>
                    <a:pt x="262724" y="244081"/>
                  </a:lnTo>
                  <a:lnTo>
                    <a:pt x="251536" y="251523"/>
                  </a:lnTo>
                  <a:lnTo>
                    <a:pt x="244094" y="262724"/>
                  </a:lnTo>
                  <a:lnTo>
                    <a:pt x="241617" y="275463"/>
                  </a:lnTo>
                  <a:lnTo>
                    <a:pt x="244094" y="288201"/>
                  </a:lnTo>
                  <a:lnTo>
                    <a:pt x="251536" y="299402"/>
                  </a:lnTo>
                  <a:lnTo>
                    <a:pt x="262724" y="306832"/>
                  </a:lnTo>
                  <a:lnTo>
                    <a:pt x="275463" y="309308"/>
                  </a:lnTo>
                  <a:lnTo>
                    <a:pt x="288213" y="306832"/>
                  </a:lnTo>
                  <a:lnTo>
                    <a:pt x="299402" y="299402"/>
                  </a:lnTo>
                  <a:lnTo>
                    <a:pt x="306844" y="288201"/>
                  </a:lnTo>
                  <a:lnTo>
                    <a:pt x="309321" y="27546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8" name="object 18">
              <a:extLst>
                <a:ext uri="{FF2B5EF4-FFF2-40B4-BE49-F238E27FC236}">
                  <a16:creationId xmlns:a16="http://schemas.microsoft.com/office/drawing/2014/main" id="{00B861EB-387D-C893-C0CF-26ADC39D6ADE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429547" y="6054201"/>
              <a:ext cx="41056" cy="41056"/>
            </a:xfrm>
            <a:prstGeom prst="rect">
              <a:avLst/>
            </a:prstGeom>
          </p:spPr>
        </p:pic>
        <p:pic>
          <p:nvPicPr>
            <p:cNvPr id="29" name="object 19">
              <a:extLst>
                <a:ext uri="{FF2B5EF4-FFF2-40B4-BE49-F238E27FC236}">
                  <a16:creationId xmlns:a16="http://schemas.microsoft.com/office/drawing/2014/main" id="{E5A680C0-152C-1D2C-7F37-E64281518565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636750" y="6054199"/>
              <a:ext cx="41056" cy="41056"/>
            </a:xfrm>
            <a:prstGeom prst="rect">
              <a:avLst/>
            </a:prstGeom>
          </p:spPr>
        </p:pic>
        <p:sp>
          <p:nvSpPr>
            <p:cNvPr id="30" name="object 20">
              <a:extLst>
                <a:ext uri="{FF2B5EF4-FFF2-40B4-BE49-F238E27FC236}">
                  <a16:creationId xmlns:a16="http://schemas.microsoft.com/office/drawing/2014/main" id="{FF23AED8-24BC-A111-8EAE-000C277F9913}"/>
                </a:ext>
              </a:extLst>
            </p:cNvPr>
            <p:cNvSpPr/>
            <p:nvPr/>
          </p:nvSpPr>
          <p:spPr>
            <a:xfrm>
              <a:off x="6459886" y="5980942"/>
              <a:ext cx="187912" cy="187911"/>
            </a:xfrm>
            <a:custGeom>
              <a:avLst/>
              <a:gdLst/>
              <a:ahLst/>
              <a:cxnLst/>
              <a:rect l="l" t="t" r="r" b="b"/>
              <a:pathLst>
                <a:path w="309879" h="309879">
                  <a:moveTo>
                    <a:pt x="67703" y="275475"/>
                  </a:moveTo>
                  <a:lnTo>
                    <a:pt x="65227" y="262737"/>
                  </a:lnTo>
                  <a:lnTo>
                    <a:pt x="57785" y="251536"/>
                  </a:lnTo>
                  <a:lnTo>
                    <a:pt x="46596" y="244106"/>
                  </a:lnTo>
                  <a:lnTo>
                    <a:pt x="33858" y="241630"/>
                  </a:lnTo>
                  <a:lnTo>
                    <a:pt x="21120" y="244106"/>
                  </a:lnTo>
                  <a:lnTo>
                    <a:pt x="9918" y="251536"/>
                  </a:lnTo>
                  <a:lnTo>
                    <a:pt x="2476" y="262737"/>
                  </a:lnTo>
                  <a:lnTo>
                    <a:pt x="0" y="275475"/>
                  </a:lnTo>
                  <a:lnTo>
                    <a:pt x="2476" y="288213"/>
                  </a:lnTo>
                  <a:lnTo>
                    <a:pt x="9918" y="299415"/>
                  </a:lnTo>
                  <a:lnTo>
                    <a:pt x="21120" y="306844"/>
                  </a:lnTo>
                  <a:lnTo>
                    <a:pt x="33858" y="309333"/>
                  </a:lnTo>
                  <a:lnTo>
                    <a:pt x="46596" y="306844"/>
                  </a:lnTo>
                  <a:lnTo>
                    <a:pt x="57785" y="299415"/>
                  </a:lnTo>
                  <a:lnTo>
                    <a:pt x="65227" y="288213"/>
                  </a:lnTo>
                  <a:lnTo>
                    <a:pt x="67703" y="275475"/>
                  </a:lnTo>
                  <a:close/>
                </a:path>
                <a:path w="309879" h="309879">
                  <a:moveTo>
                    <a:pt x="111252" y="188099"/>
                  </a:moveTo>
                  <a:lnTo>
                    <a:pt x="108889" y="181089"/>
                  </a:lnTo>
                  <a:lnTo>
                    <a:pt x="104000" y="175539"/>
                  </a:lnTo>
                  <a:lnTo>
                    <a:pt x="97586" y="172415"/>
                  </a:lnTo>
                  <a:lnTo>
                    <a:pt x="90462" y="171919"/>
                  </a:lnTo>
                  <a:lnTo>
                    <a:pt x="83464" y="174269"/>
                  </a:lnTo>
                  <a:lnTo>
                    <a:pt x="77914" y="179158"/>
                  </a:lnTo>
                  <a:lnTo>
                    <a:pt x="74790" y="185572"/>
                  </a:lnTo>
                  <a:lnTo>
                    <a:pt x="74295" y="192697"/>
                  </a:lnTo>
                  <a:lnTo>
                    <a:pt x="76644" y="199707"/>
                  </a:lnTo>
                  <a:lnTo>
                    <a:pt x="81534" y="205257"/>
                  </a:lnTo>
                  <a:lnTo>
                    <a:pt x="87947" y="208381"/>
                  </a:lnTo>
                  <a:lnTo>
                    <a:pt x="95072" y="208876"/>
                  </a:lnTo>
                  <a:lnTo>
                    <a:pt x="102082" y="206527"/>
                  </a:lnTo>
                  <a:lnTo>
                    <a:pt x="107632" y="201637"/>
                  </a:lnTo>
                  <a:lnTo>
                    <a:pt x="110756" y="195211"/>
                  </a:lnTo>
                  <a:lnTo>
                    <a:pt x="111252" y="188099"/>
                  </a:lnTo>
                  <a:close/>
                </a:path>
                <a:path w="309879" h="309879">
                  <a:moveTo>
                    <a:pt x="111252" y="121234"/>
                  </a:moveTo>
                  <a:lnTo>
                    <a:pt x="110756" y="114109"/>
                  </a:lnTo>
                  <a:lnTo>
                    <a:pt x="107619" y="107696"/>
                  </a:lnTo>
                  <a:lnTo>
                    <a:pt x="102082" y="102806"/>
                  </a:lnTo>
                  <a:lnTo>
                    <a:pt x="95072" y="100457"/>
                  </a:lnTo>
                  <a:lnTo>
                    <a:pt x="87960" y="100952"/>
                  </a:lnTo>
                  <a:lnTo>
                    <a:pt x="81534" y="104076"/>
                  </a:lnTo>
                  <a:lnTo>
                    <a:pt x="76644" y="109626"/>
                  </a:lnTo>
                  <a:lnTo>
                    <a:pt x="74295" y="116636"/>
                  </a:lnTo>
                  <a:lnTo>
                    <a:pt x="74790" y="123748"/>
                  </a:lnTo>
                  <a:lnTo>
                    <a:pt x="77914" y="130175"/>
                  </a:lnTo>
                  <a:lnTo>
                    <a:pt x="83464" y="135064"/>
                  </a:lnTo>
                  <a:lnTo>
                    <a:pt x="90474" y="137414"/>
                  </a:lnTo>
                  <a:lnTo>
                    <a:pt x="97586" y="136918"/>
                  </a:lnTo>
                  <a:lnTo>
                    <a:pt x="104000" y="133781"/>
                  </a:lnTo>
                  <a:lnTo>
                    <a:pt x="108902" y="128244"/>
                  </a:lnTo>
                  <a:lnTo>
                    <a:pt x="111252" y="121234"/>
                  </a:lnTo>
                  <a:close/>
                </a:path>
                <a:path w="309879" h="309879">
                  <a:moveTo>
                    <a:pt x="173278" y="226136"/>
                  </a:moveTo>
                  <a:lnTo>
                    <a:pt x="171818" y="218884"/>
                  </a:lnTo>
                  <a:lnTo>
                    <a:pt x="167830" y="212966"/>
                  </a:lnTo>
                  <a:lnTo>
                    <a:pt x="161912" y="208978"/>
                  </a:lnTo>
                  <a:lnTo>
                    <a:pt x="154660" y="207518"/>
                  </a:lnTo>
                  <a:lnTo>
                    <a:pt x="147408" y="208978"/>
                  </a:lnTo>
                  <a:lnTo>
                    <a:pt x="141490" y="212966"/>
                  </a:lnTo>
                  <a:lnTo>
                    <a:pt x="137502" y="218884"/>
                  </a:lnTo>
                  <a:lnTo>
                    <a:pt x="136042" y="226136"/>
                  </a:lnTo>
                  <a:lnTo>
                    <a:pt x="137502" y="233375"/>
                  </a:lnTo>
                  <a:lnTo>
                    <a:pt x="141490" y="239293"/>
                  </a:lnTo>
                  <a:lnTo>
                    <a:pt x="147408" y="243281"/>
                  </a:lnTo>
                  <a:lnTo>
                    <a:pt x="154660" y="244741"/>
                  </a:lnTo>
                  <a:lnTo>
                    <a:pt x="161912" y="243281"/>
                  </a:lnTo>
                  <a:lnTo>
                    <a:pt x="167830" y="239293"/>
                  </a:lnTo>
                  <a:lnTo>
                    <a:pt x="171818" y="233375"/>
                  </a:lnTo>
                  <a:lnTo>
                    <a:pt x="173278" y="226136"/>
                  </a:lnTo>
                  <a:close/>
                </a:path>
                <a:path w="309879" h="309879">
                  <a:moveTo>
                    <a:pt x="173278" y="83197"/>
                  </a:moveTo>
                  <a:lnTo>
                    <a:pt x="171818" y="75958"/>
                  </a:lnTo>
                  <a:lnTo>
                    <a:pt x="167830" y="70040"/>
                  </a:lnTo>
                  <a:lnTo>
                    <a:pt x="161912" y="66052"/>
                  </a:lnTo>
                  <a:lnTo>
                    <a:pt x="154660" y="64579"/>
                  </a:lnTo>
                  <a:lnTo>
                    <a:pt x="147421" y="66052"/>
                  </a:lnTo>
                  <a:lnTo>
                    <a:pt x="141503" y="70040"/>
                  </a:lnTo>
                  <a:lnTo>
                    <a:pt x="137502" y="75958"/>
                  </a:lnTo>
                  <a:lnTo>
                    <a:pt x="136042" y="83197"/>
                  </a:lnTo>
                  <a:lnTo>
                    <a:pt x="137502" y="90449"/>
                  </a:lnTo>
                  <a:lnTo>
                    <a:pt x="141503" y="96367"/>
                  </a:lnTo>
                  <a:lnTo>
                    <a:pt x="147421" y="100355"/>
                  </a:lnTo>
                  <a:lnTo>
                    <a:pt x="154660" y="101815"/>
                  </a:lnTo>
                  <a:lnTo>
                    <a:pt x="161912" y="100355"/>
                  </a:lnTo>
                  <a:lnTo>
                    <a:pt x="167830" y="96367"/>
                  </a:lnTo>
                  <a:lnTo>
                    <a:pt x="171818" y="90449"/>
                  </a:lnTo>
                  <a:lnTo>
                    <a:pt x="173278" y="83197"/>
                  </a:lnTo>
                  <a:close/>
                </a:path>
                <a:path w="309879" h="309879">
                  <a:moveTo>
                    <a:pt x="235026" y="192697"/>
                  </a:moveTo>
                  <a:lnTo>
                    <a:pt x="234530" y="185585"/>
                  </a:lnTo>
                  <a:lnTo>
                    <a:pt x="231406" y="179158"/>
                  </a:lnTo>
                  <a:lnTo>
                    <a:pt x="225856" y="174269"/>
                  </a:lnTo>
                  <a:lnTo>
                    <a:pt x="218859" y="171919"/>
                  </a:lnTo>
                  <a:lnTo>
                    <a:pt x="211734" y="172415"/>
                  </a:lnTo>
                  <a:lnTo>
                    <a:pt x="205320" y="175552"/>
                  </a:lnTo>
                  <a:lnTo>
                    <a:pt x="200431" y="181089"/>
                  </a:lnTo>
                  <a:lnTo>
                    <a:pt x="198069" y="188099"/>
                  </a:lnTo>
                  <a:lnTo>
                    <a:pt x="198564" y="195224"/>
                  </a:lnTo>
                  <a:lnTo>
                    <a:pt x="201701" y="201637"/>
                  </a:lnTo>
                  <a:lnTo>
                    <a:pt x="207238" y="206527"/>
                  </a:lnTo>
                  <a:lnTo>
                    <a:pt x="214249" y="208876"/>
                  </a:lnTo>
                  <a:lnTo>
                    <a:pt x="221373" y="208381"/>
                  </a:lnTo>
                  <a:lnTo>
                    <a:pt x="227787" y="205257"/>
                  </a:lnTo>
                  <a:lnTo>
                    <a:pt x="232676" y="199707"/>
                  </a:lnTo>
                  <a:lnTo>
                    <a:pt x="235026" y="192697"/>
                  </a:lnTo>
                  <a:close/>
                </a:path>
                <a:path w="309879" h="309879">
                  <a:moveTo>
                    <a:pt x="235026" y="116636"/>
                  </a:moveTo>
                  <a:lnTo>
                    <a:pt x="232676" y="109626"/>
                  </a:lnTo>
                  <a:lnTo>
                    <a:pt x="227787" y="104076"/>
                  </a:lnTo>
                  <a:lnTo>
                    <a:pt x="221373" y="100952"/>
                  </a:lnTo>
                  <a:lnTo>
                    <a:pt x="214249" y="100457"/>
                  </a:lnTo>
                  <a:lnTo>
                    <a:pt x="207238" y="102806"/>
                  </a:lnTo>
                  <a:lnTo>
                    <a:pt x="201701" y="107696"/>
                  </a:lnTo>
                  <a:lnTo>
                    <a:pt x="198564" y="114109"/>
                  </a:lnTo>
                  <a:lnTo>
                    <a:pt x="198069" y="121234"/>
                  </a:lnTo>
                  <a:lnTo>
                    <a:pt x="200431" y="128244"/>
                  </a:lnTo>
                  <a:lnTo>
                    <a:pt x="205320" y="133794"/>
                  </a:lnTo>
                  <a:lnTo>
                    <a:pt x="211734" y="136918"/>
                  </a:lnTo>
                  <a:lnTo>
                    <a:pt x="218859" y="137414"/>
                  </a:lnTo>
                  <a:lnTo>
                    <a:pt x="225856" y="135051"/>
                  </a:lnTo>
                  <a:lnTo>
                    <a:pt x="231406" y="130162"/>
                  </a:lnTo>
                  <a:lnTo>
                    <a:pt x="234530" y="123748"/>
                  </a:lnTo>
                  <a:lnTo>
                    <a:pt x="235026" y="116636"/>
                  </a:lnTo>
                  <a:close/>
                </a:path>
                <a:path w="309879" h="309879">
                  <a:moveTo>
                    <a:pt x="309321" y="33858"/>
                  </a:moveTo>
                  <a:lnTo>
                    <a:pt x="306844" y="21120"/>
                  </a:lnTo>
                  <a:lnTo>
                    <a:pt x="299402" y="9918"/>
                  </a:lnTo>
                  <a:lnTo>
                    <a:pt x="288213" y="2489"/>
                  </a:lnTo>
                  <a:lnTo>
                    <a:pt x="275463" y="0"/>
                  </a:lnTo>
                  <a:lnTo>
                    <a:pt x="262724" y="2489"/>
                  </a:lnTo>
                  <a:lnTo>
                    <a:pt x="251536" y="9918"/>
                  </a:lnTo>
                  <a:lnTo>
                    <a:pt x="244094" y="21120"/>
                  </a:lnTo>
                  <a:lnTo>
                    <a:pt x="241617" y="33858"/>
                  </a:lnTo>
                  <a:lnTo>
                    <a:pt x="244094" y="46596"/>
                  </a:lnTo>
                  <a:lnTo>
                    <a:pt x="251536" y="57797"/>
                  </a:lnTo>
                  <a:lnTo>
                    <a:pt x="262724" y="65227"/>
                  </a:lnTo>
                  <a:lnTo>
                    <a:pt x="275463" y="67703"/>
                  </a:lnTo>
                  <a:lnTo>
                    <a:pt x="288213" y="65227"/>
                  </a:lnTo>
                  <a:lnTo>
                    <a:pt x="299402" y="57797"/>
                  </a:lnTo>
                  <a:lnTo>
                    <a:pt x="306844" y="46596"/>
                  </a:lnTo>
                  <a:lnTo>
                    <a:pt x="309321" y="3385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object 24">
              <a:extLst>
                <a:ext uri="{FF2B5EF4-FFF2-40B4-BE49-F238E27FC236}">
                  <a16:creationId xmlns:a16="http://schemas.microsoft.com/office/drawing/2014/main" id="{CC65025B-11A8-DD96-A362-ACA169EB0C70}"/>
                </a:ext>
              </a:extLst>
            </p:cNvPr>
            <p:cNvSpPr txBox="1"/>
            <p:nvPr/>
          </p:nvSpPr>
          <p:spPr>
            <a:xfrm>
              <a:off x="8125637" y="5911769"/>
              <a:ext cx="673093" cy="304291"/>
            </a:xfrm>
            <a:prstGeom prst="rect">
              <a:avLst/>
            </a:prstGeom>
          </p:spPr>
          <p:txBody>
            <a:bodyPr vert="horz" wrap="square" lIns="0" tIns="21948" rIns="0" bIns="0" rtlCol="0">
              <a:spAutoFit/>
            </a:bodyPr>
            <a:lstStyle/>
            <a:p>
              <a:pPr marL="7701" marR="3081" defTabSz="554492">
                <a:lnSpc>
                  <a:spcPts val="1140"/>
                </a:lnSpc>
                <a:spcBef>
                  <a:spcPts val="172"/>
                </a:spcBef>
              </a:pPr>
              <a:r>
                <a:rPr lang="en-GB" sz="1001" kern="0" dirty="0">
                  <a:solidFill>
                    <a:schemeClr val="tx2"/>
                  </a:solidFill>
                  <a:latin typeface="UKCEH Suisse" panose="020B0504000000000000" pitchFamily="34" charset="-78"/>
                  <a:cs typeface="UKCEH Suisse" panose="020B0504000000000000" pitchFamily="34" charset="-78"/>
                </a:rPr>
                <a:t>Our planet. Decoded</a:t>
              </a:r>
              <a:r>
                <a:rPr sz="1001" kern="0" spc="-6" dirty="0">
                  <a:solidFill>
                    <a:schemeClr val="tx2"/>
                  </a:solidFill>
                  <a:latin typeface="UKCEH Suisse" panose="020B0504000000000000" pitchFamily="34" charset="-78"/>
                  <a:cs typeface="UKCEH Suisse" panose="020B0504000000000000" pitchFamily="34" charset="-78"/>
                </a:rPr>
                <a:t>.</a:t>
              </a:r>
              <a:endParaRPr sz="1001" kern="0" dirty="0">
                <a:solidFill>
                  <a:schemeClr val="tx2"/>
                </a:solidFill>
                <a:latin typeface="UKCEH Suisse" panose="020B0504000000000000" pitchFamily="34" charset="-78"/>
                <a:cs typeface="UKCEH Suisse" panose="020B0504000000000000" pitchFamily="34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97758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B21AC16-59EE-E4C2-7447-381AD096B565}"/>
              </a:ext>
            </a:extLst>
          </p:cNvPr>
          <p:cNvGrpSpPr/>
          <p:nvPr userDrawn="1"/>
        </p:nvGrpSpPr>
        <p:grpSpPr>
          <a:xfrm>
            <a:off x="7244079" y="4977550"/>
            <a:ext cx="3806509" cy="560461"/>
            <a:chOff x="444894" y="5891285"/>
            <a:chExt cx="3806509" cy="560461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0EA0FEA6-EEEE-BCA4-FC3C-67250D6B2ABC}"/>
                </a:ext>
              </a:extLst>
            </p:cNvPr>
            <p:cNvGrpSpPr/>
            <p:nvPr userDrawn="1"/>
          </p:nvGrpSpPr>
          <p:grpSpPr>
            <a:xfrm>
              <a:off x="444894" y="5891285"/>
              <a:ext cx="2121117" cy="560461"/>
              <a:chOff x="444894" y="5881858"/>
              <a:chExt cx="2121117" cy="560461"/>
            </a:xfrm>
          </p:grpSpPr>
          <p:sp>
            <p:nvSpPr>
              <p:cNvPr id="8" name="object 8"/>
              <p:cNvSpPr/>
              <p:nvPr/>
            </p:nvSpPr>
            <p:spPr>
              <a:xfrm>
                <a:off x="1097760" y="5990273"/>
                <a:ext cx="1468251" cy="341167"/>
              </a:xfrm>
              <a:custGeom>
                <a:avLst/>
                <a:gdLst/>
                <a:ahLst/>
                <a:cxnLst/>
                <a:rect l="l" t="t" r="r" b="b"/>
                <a:pathLst>
                  <a:path w="2421254" h="562609">
                    <a:moveTo>
                      <a:pt x="76395" y="9737"/>
                    </a:moveTo>
                    <a:lnTo>
                      <a:pt x="0" y="9737"/>
                    </a:lnTo>
                    <a:lnTo>
                      <a:pt x="0" y="331801"/>
                    </a:lnTo>
                    <a:lnTo>
                      <a:pt x="3125" y="390312"/>
                    </a:lnTo>
                    <a:lnTo>
                      <a:pt x="12649" y="439255"/>
                    </a:lnTo>
                    <a:lnTo>
                      <a:pt x="28791" y="479175"/>
                    </a:lnTo>
                    <a:lnTo>
                      <a:pt x="51770" y="510615"/>
                    </a:lnTo>
                    <a:lnTo>
                      <a:pt x="81806" y="534120"/>
                    </a:lnTo>
                    <a:lnTo>
                      <a:pt x="119119" y="550236"/>
                    </a:lnTo>
                    <a:lnTo>
                      <a:pt x="163928" y="559506"/>
                    </a:lnTo>
                    <a:lnTo>
                      <a:pt x="216454" y="562475"/>
                    </a:lnTo>
                    <a:lnTo>
                      <a:pt x="271225" y="558818"/>
                    </a:lnTo>
                    <a:lnTo>
                      <a:pt x="317298" y="547824"/>
                    </a:lnTo>
                    <a:lnTo>
                      <a:pt x="355103" y="529458"/>
                    </a:lnTo>
                    <a:lnTo>
                      <a:pt x="385070" y="503684"/>
                    </a:lnTo>
                    <a:lnTo>
                      <a:pt x="389901" y="496571"/>
                    </a:lnTo>
                    <a:lnTo>
                      <a:pt x="216454" y="496571"/>
                    </a:lnTo>
                    <a:lnTo>
                      <a:pt x="162773" y="490573"/>
                    </a:lnTo>
                    <a:lnTo>
                      <a:pt x="123149" y="472316"/>
                    </a:lnTo>
                    <a:lnTo>
                      <a:pt x="96360" y="441403"/>
                    </a:lnTo>
                    <a:lnTo>
                      <a:pt x="81183" y="397440"/>
                    </a:lnTo>
                    <a:lnTo>
                      <a:pt x="76395" y="340031"/>
                    </a:lnTo>
                    <a:lnTo>
                      <a:pt x="76395" y="9737"/>
                    </a:lnTo>
                    <a:close/>
                  </a:path>
                  <a:path w="2421254" h="562609">
                    <a:moveTo>
                      <a:pt x="435159" y="9737"/>
                    </a:moveTo>
                    <a:lnTo>
                      <a:pt x="358763" y="9737"/>
                    </a:lnTo>
                    <a:lnTo>
                      <a:pt x="358763" y="331801"/>
                    </a:lnTo>
                    <a:lnTo>
                      <a:pt x="355452" y="381192"/>
                    </a:lnTo>
                    <a:lnTo>
                      <a:pt x="345004" y="422117"/>
                    </a:lnTo>
                    <a:lnTo>
                      <a:pt x="299621" y="477652"/>
                    </a:lnTo>
                    <a:lnTo>
                      <a:pt x="263145" y="491803"/>
                    </a:lnTo>
                    <a:lnTo>
                      <a:pt x="216454" y="496571"/>
                    </a:lnTo>
                    <a:lnTo>
                      <a:pt x="389901" y="496571"/>
                    </a:lnTo>
                    <a:lnTo>
                      <a:pt x="407629" y="470467"/>
                    </a:lnTo>
                    <a:lnTo>
                      <a:pt x="423210" y="429771"/>
                    </a:lnTo>
                    <a:lnTo>
                      <a:pt x="432244" y="381561"/>
                    </a:lnTo>
                    <a:lnTo>
                      <a:pt x="435159" y="325801"/>
                    </a:lnTo>
                    <a:lnTo>
                      <a:pt x="435159" y="9737"/>
                    </a:lnTo>
                    <a:close/>
                  </a:path>
                  <a:path w="2421254" h="562609">
                    <a:moveTo>
                      <a:pt x="609656" y="9737"/>
                    </a:moveTo>
                    <a:lnTo>
                      <a:pt x="533261" y="9737"/>
                    </a:lnTo>
                    <a:lnTo>
                      <a:pt x="533261" y="552737"/>
                    </a:lnTo>
                    <a:lnTo>
                      <a:pt x="609656" y="552737"/>
                    </a:lnTo>
                    <a:lnTo>
                      <a:pt x="609656" y="381977"/>
                    </a:lnTo>
                    <a:lnTo>
                      <a:pt x="695036" y="287614"/>
                    </a:lnTo>
                    <a:lnTo>
                      <a:pt x="786259" y="287614"/>
                    </a:lnTo>
                    <a:lnTo>
                      <a:pt x="783089" y="283111"/>
                    </a:lnTo>
                    <a:lnTo>
                      <a:pt x="609656" y="283111"/>
                    </a:lnTo>
                    <a:lnTo>
                      <a:pt x="609656" y="9737"/>
                    </a:lnTo>
                    <a:close/>
                  </a:path>
                  <a:path w="2421254" h="562609">
                    <a:moveTo>
                      <a:pt x="786259" y="287614"/>
                    </a:moveTo>
                    <a:lnTo>
                      <a:pt x="695036" y="287614"/>
                    </a:lnTo>
                    <a:lnTo>
                      <a:pt x="881533" y="552737"/>
                    </a:lnTo>
                    <a:lnTo>
                      <a:pt x="972912" y="552737"/>
                    </a:lnTo>
                    <a:lnTo>
                      <a:pt x="786259" y="287614"/>
                    </a:lnTo>
                    <a:close/>
                  </a:path>
                  <a:path w="2421254" h="562609">
                    <a:moveTo>
                      <a:pt x="949698" y="9737"/>
                    </a:moveTo>
                    <a:lnTo>
                      <a:pt x="854570" y="9737"/>
                    </a:lnTo>
                    <a:lnTo>
                      <a:pt x="609656" y="283111"/>
                    </a:lnTo>
                    <a:lnTo>
                      <a:pt x="783089" y="283111"/>
                    </a:lnTo>
                    <a:lnTo>
                      <a:pt x="746710" y="231437"/>
                    </a:lnTo>
                    <a:lnTo>
                      <a:pt x="949698" y="9737"/>
                    </a:lnTo>
                    <a:close/>
                  </a:path>
                  <a:path w="2421254" h="562609">
                    <a:moveTo>
                      <a:pt x="1228297" y="0"/>
                    </a:moveTo>
                    <a:lnTo>
                      <a:pt x="1179400" y="4082"/>
                    </a:lnTo>
                    <a:lnTo>
                      <a:pt x="1134825" y="16018"/>
                    </a:lnTo>
                    <a:lnTo>
                      <a:pt x="1094903" y="35377"/>
                    </a:lnTo>
                    <a:lnTo>
                      <a:pt x="1060167" y="61576"/>
                    </a:lnTo>
                    <a:lnTo>
                      <a:pt x="1030848" y="94262"/>
                    </a:lnTo>
                    <a:lnTo>
                      <a:pt x="1007380" y="132927"/>
                    </a:lnTo>
                    <a:lnTo>
                      <a:pt x="990144" y="177103"/>
                    </a:lnTo>
                    <a:lnTo>
                      <a:pt x="979522" y="226323"/>
                    </a:lnTo>
                    <a:lnTo>
                      <a:pt x="975896" y="280117"/>
                    </a:lnTo>
                    <a:lnTo>
                      <a:pt x="979218" y="333199"/>
                    </a:lnTo>
                    <a:lnTo>
                      <a:pt x="989042" y="382205"/>
                    </a:lnTo>
                    <a:lnTo>
                      <a:pt x="1005160" y="426556"/>
                    </a:lnTo>
                    <a:lnTo>
                      <a:pt x="1027361" y="465673"/>
                    </a:lnTo>
                    <a:lnTo>
                      <a:pt x="1055438" y="498977"/>
                    </a:lnTo>
                    <a:lnTo>
                      <a:pt x="1089181" y="525888"/>
                    </a:lnTo>
                    <a:lnTo>
                      <a:pt x="1128379" y="545828"/>
                    </a:lnTo>
                    <a:lnTo>
                      <a:pt x="1172825" y="558216"/>
                    </a:lnTo>
                    <a:lnTo>
                      <a:pt x="1222308" y="562475"/>
                    </a:lnTo>
                    <a:lnTo>
                      <a:pt x="1271099" y="558640"/>
                    </a:lnTo>
                    <a:lnTo>
                      <a:pt x="1316158" y="547208"/>
                    </a:lnTo>
                    <a:lnTo>
                      <a:pt x="1356685" y="528281"/>
                    </a:lnTo>
                    <a:lnTo>
                      <a:pt x="1391881" y="501965"/>
                    </a:lnTo>
                    <a:lnTo>
                      <a:pt x="1395252" y="498068"/>
                    </a:lnTo>
                    <a:lnTo>
                      <a:pt x="1226800" y="498068"/>
                    </a:lnTo>
                    <a:lnTo>
                      <a:pt x="1185380" y="493227"/>
                    </a:lnTo>
                    <a:lnTo>
                      <a:pt x="1148282" y="478967"/>
                    </a:lnTo>
                    <a:lnTo>
                      <a:pt x="1116254" y="455680"/>
                    </a:lnTo>
                    <a:lnTo>
                      <a:pt x="1090042" y="423759"/>
                    </a:lnTo>
                    <a:lnTo>
                      <a:pt x="1070394" y="383596"/>
                    </a:lnTo>
                    <a:lnTo>
                      <a:pt x="1058057" y="335584"/>
                    </a:lnTo>
                    <a:lnTo>
                      <a:pt x="1053779" y="280117"/>
                    </a:lnTo>
                    <a:lnTo>
                      <a:pt x="1058208" y="223834"/>
                    </a:lnTo>
                    <a:lnTo>
                      <a:pt x="1070865" y="175779"/>
                    </a:lnTo>
                    <a:lnTo>
                      <a:pt x="1090808" y="136108"/>
                    </a:lnTo>
                    <a:lnTo>
                      <a:pt x="1117091" y="104979"/>
                    </a:lnTo>
                    <a:lnTo>
                      <a:pt x="1148772" y="82549"/>
                    </a:lnTo>
                    <a:lnTo>
                      <a:pt x="1184905" y="68976"/>
                    </a:lnTo>
                    <a:lnTo>
                      <a:pt x="1224549" y="64416"/>
                    </a:lnTo>
                    <a:lnTo>
                      <a:pt x="1392710" y="64416"/>
                    </a:lnTo>
                    <a:lnTo>
                      <a:pt x="1390770" y="62087"/>
                    </a:lnTo>
                    <a:lnTo>
                      <a:pt x="1356937" y="35377"/>
                    </a:lnTo>
                    <a:lnTo>
                      <a:pt x="1318263" y="16018"/>
                    </a:lnTo>
                    <a:lnTo>
                      <a:pt x="1318417" y="16018"/>
                    </a:lnTo>
                    <a:lnTo>
                      <a:pt x="1275128" y="4082"/>
                    </a:lnTo>
                    <a:lnTo>
                      <a:pt x="1275535" y="4082"/>
                    </a:lnTo>
                    <a:lnTo>
                      <a:pt x="1228297" y="0"/>
                    </a:lnTo>
                    <a:close/>
                  </a:path>
                  <a:path w="2421254" h="562609">
                    <a:moveTo>
                      <a:pt x="1457484" y="379726"/>
                    </a:moveTo>
                    <a:lnTo>
                      <a:pt x="1383329" y="379726"/>
                    </a:lnTo>
                    <a:lnTo>
                      <a:pt x="1368780" y="418780"/>
                    </a:lnTo>
                    <a:lnTo>
                      <a:pt x="1345815" y="451472"/>
                    </a:lnTo>
                    <a:lnTo>
                      <a:pt x="1314471" y="476472"/>
                    </a:lnTo>
                    <a:lnTo>
                      <a:pt x="1274787" y="492447"/>
                    </a:lnTo>
                    <a:lnTo>
                      <a:pt x="1226800" y="498068"/>
                    </a:lnTo>
                    <a:lnTo>
                      <a:pt x="1395252" y="498068"/>
                    </a:lnTo>
                    <a:lnTo>
                      <a:pt x="1420946" y="468364"/>
                    </a:lnTo>
                    <a:lnTo>
                      <a:pt x="1443080" y="427583"/>
                    </a:lnTo>
                    <a:lnTo>
                      <a:pt x="1457484" y="379726"/>
                    </a:lnTo>
                    <a:close/>
                  </a:path>
                  <a:path w="2421254" h="562609">
                    <a:moveTo>
                      <a:pt x="1392710" y="64416"/>
                    </a:moveTo>
                    <a:lnTo>
                      <a:pt x="1224549" y="64416"/>
                    </a:lnTo>
                    <a:lnTo>
                      <a:pt x="1272316" y="70181"/>
                    </a:lnTo>
                    <a:lnTo>
                      <a:pt x="1312065" y="86443"/>
                    </a:lnTo>
                    <a:lnTo>
                      <a:pt x="1343510" y="111657"/>
                    </a:lnTo>
                    <a:lnTo>
                      <a:pt x="1366362" y="144274"/>
                    </a:lnTo>
                    <a:lnTo>
                      <a:pt x="1380334" y="182748"/>
                    </a:lnTo>
                    <a:lnTo>
                      <a:pt x="1454489" y="182748"/>
                    </a:lnTo>
                    <a:lnTo>
                      <a:pt x="1440315" y="136108"/>
                    </a:lnTo>
                    <a:lnTo>
                      <a:pt x="1418812" y="95754"/>
                    </a:lnTo>
                    <a:lnTo>
                      <a:pt x="1392710" y="64416"/>
                    </a:lnTo>
                    <a:close/>
                  </a:path>
                  <a:path w="2421254" h="562609">
                    <a:moveTo>
                      <a:pt x="1899376" y="9737"/>
                    </a:moveTo>
                    <a:lnTo>
                      <a:pt x="1530885" y="9737"/>
                    </a:lnTo>
                    <a:lnTo>
                      <a:pt x="1530885" y="552737"/>
                    </a:lnTo>
                    <a:lnTo>
                      <a:pt x="1899376" y="552737"/>
                    </a:lnTo>
                    <a:lnTo>
                      <a:pt x="1899376" y="486833"/>
                    </a:lnTo>
                    <a:lnTo>
                      <a:pt x="1607270" y="486833"/>
                    </a:lnTo>
                    <a:lnTo>
                      <a:pt x="1607270" y="306325"/>
                    </a:lnTo>
                    <a:lnTo>
                      <a:pt x="1882152" y="306325"/>
                    </a:lnTo>
                    <a:lnTo>
                      <a:pt x="1882152" y="240421"/>
                    </a:lnTo>
                    <a:lnTo>
                      <a:pt x="1607270" y="240421"/>
                    </a:lnTo>
                    <a:lnTo>
                      <a:pt x="1607270" y="75641"/>
                    </a:lnTo>
                    <a:lnTo>
                      <a:pt x="1899376" y="75641"/>
                    </a:lnTo>
                    <a:lnTo>
                      <a:pt x="1899376" y="9737"/>
                    </a:lnTo>
                    <a:close/>
                  </a:path>
                  <a:path w="2421254" h="562609">
                    <a:moveTo>
                      <a:pt x="2058900" y="9737"/>
                    </a:moveTo>
                    <a:lnTo>
                      <a:pt x="1982505" y="9737"/>
                    </a:lnTo>
                    <a:lnTo>
                      <a:pt x="1982505" y="552737"/>
                    </a:lnTo>
                    <a:lnTo>
                      <a:pt x="2058900" y="552737"/>
                    </a:lnTo>
                    <a:lnTo>
                      <a:pt x="2058900" y="306325"/>
                    </a:lnTo>
                    <a:lnTo>
                      <a:pt x="2420659" y="306325"/>
                    </a:lnTo>
                    <a:lnTo>
                      <a:pt x="2420659" y="240421"/>
                    </a:lnTo>
                    <a:lnTo>
                      <a:pt x="2058900" y="240421"/>
                    </a:lnTo>
                    <a:lnTo>
                      <a:pt x="2058900" y="9737"/>
                    </a:lnTo>
                    <a:close/>
                  </a:path>
                  <a:path w="2421254" h="562609">
                    <a:moveTo>
                      <a:pt x="2420659" y="306325"/>
                    </a:moveTo>
                    <a:lnTo>
                      <a:pt x="2344263" y="306325"/>
                    </a:lnTo>
                    <a:lnTo>
                      <a:pt x="2344263" y="552737"/>
                    </a:lnTo>
                    <a:lnTo>
                      <a:pt x="2420659" y="552737"/>
                    </a:lnTo>
                    <a:lnTo>
                      <a:pt x="2420659" y="306325"/>
                    </a:lnTo>
                    <a:close/>
                  </a:path>
                  <a:path w="2421254" h="562609">
                    <a:moveTo>
                      <a:pt x="2420659" y="9737"/>
                    </a:moveTo>
                    <a:lnTo>
                      <a:pt x="2344263" y="9737"/>
                    </a:lnTo>
                    <a:lnTo>
                      <a:pt x="2344263" y="240421"/>
                    </a:lnTo>
                    <a:lnTo>
                      <a:pt x="2420659" y="240421"/>
                    </a:lnTo>
                    <a:lnTo>
                      <a:pt x="2420659" y="9737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 defTabSz="554492"/>
                <a:endParaRPr sz="1092" kern="0">
                  <a:solidFill>
                    <a:sysClr val="windowText" lastClr="000000"/>
                  </a:solidFill>
                </a:endParaRPr>
              </a:p>
            </p:txBody>
          </p:sp>
          <p:pic>
            <p:nvPicPr>
              <p:cNvPr id="9" name="object 9"/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688034" y="5881858"/>
                <a:ext cx="74182" cy="74188"/>
              </a:xfrm>
              <a:prstGeom prst="rect">
                <a:avLst/>
              </a:prstGeom>
            </p:spPr>
          </p:pic>
          <p:pic>
            <p:nvPicPr>
              <p:cNvPr id="4" name="object 10"/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688033" y="6368131"/>
                <a:ext cx="74182" cy="74188"/>
              </a:xfrm>
              <a:prstGeom prst="rect">
                <a:avLst/>
              </a:prstGeom>
            </p:spPr>
          </p:pic>
          <p:pic>
            <p:nvPicPr>
              <p:cNvPr id="11" name="object 11"/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444894" y="6124997"/>
                <a:ext cx="74188" cy="74182"/>
              </a:xfrm>
              <a:prstGeom prst="rect">
                <a:avLst/>
              </a:prstGeom>
            </p:spPr>
          </p:pic>
          <p:pic>
            <p:nvPicPr>
              <p:cNvPr id="5" name="object 12"/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931167" y="6124998"/>
                <a:ext cx="74188" cy="74182"/>
              </a:xfrm>
              <a:prstGeom prst="rect">
                <a:avLst/>
              </a:prstGeom>
            </p:spPr>
          </p:pic>
          <p:pic>
            <p:nvPicPr>
              <p:cNvPr id="13" name="object 13"/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697308" y="5993870"/>
                <a:ext cx="55634" cy="55634"/>
              </a:xfrm>
              <a:prstGeom prst="rect">
                <a:avLst/>
              </a:prstGeom>
            </p:spPr>
          </p:pic>
          <p:pic>
            <p:nvPicPr>
              <p:cNvPr id="14" name="object 14"/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697306" y="6274673"/>
                <a:ext cx="55634" cy="55634"/>
              </a:xfrm>
              <a:prstGeom prst="rect">
                <a:avLst/>
              </a:prstGeom>
            </p:spPr>
          </p:pic>
          <p:pic>
            <p:nvPicPr>
              <p:cNvPr id="15" name="object 15"/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556906" y="6134270"/>
                <a:ext cx="55634" cy="55634"/>
              </a:xfrm>
              <a:prstGeom prst="rect">
                <a:avLst/>
              </a:prstGeom>
            </p:spPr>
          </p:pic>
          <p:pic>
            <p:nvPicPr>
              <p:cNvPr id="16" name="object 16"/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837708" y="6134273"/>
                <a:ext cx="55634" cy="55634"/>
              </a:xfrm>
              <a:prstGeom prst="rect">
                <a:avLst/>
              </a:prstGeom>
            </p:spPr>
          </p:pic>
          <p:grpSp>
            <p:nvGrpSpPr>
              <p:cNvPr id="17" name="object 17"/>
              <p:cNvGrpSpPr/>
              <p:nvPr/>
            </p:nvGrpSpPr>
            <p:grpSpPr>
              <a:xfrm>
                <a:off x="477746" y="6176265"/>
                <a:ext cx="494808" cy="233349"/>
                <a:chOff x="787133" y="10185118"/>
                <a:chExt cx="815975" cy="384810"/>
              </a:xfrm>
            </p:grpSpPr>
            <p:pic>
              <p:nvPicPr>
                <p:cNvPr id="18" name="object 18"/>
                <p:cNvPicPr/>
                <p:nvPr/>
              </p:nvPicPr>
              <p:blipFill>
                <a:blip r:embed="rId9" cstate="print"/>
                <a:stretch>
                  <a:fillRect/>
                </a:stretch>
              </p:blipFill>
              <p:spPr>
                <a:xfrm>
                  <a:off x="1334840" y="10448257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19" name="object 19"/>
                <p:cNvPicPr/>
                <p:nvPr/>
              </p:nvPicPr>
              <p:blipFill>
                <a:blip r:embed="rId10" cstate="print"/>
                <a:stretch>
                  <a:fillRect/>
                </a:stretch>
              </p:blipFill>
              <p:spPr>
                <a:xfrm>
                  <a:off x="1481599" y="10301501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0" name="object 20"/>
                <p:cNvPicPr/>
                <p:nvPr/>
              </p:nvPicPr>
              <p:blipFill>
                <a:blip r:embed="rId11" cstate="print"/>
                <a:stretch>
                  <a:fillRect/>
                </a:stretch>
              </p:blipFill>
              <p:spPr>
                <a:xfrm>
                  <a:off x="787133" y="10301502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1" name="object 21"/>
                <p:cNvPicPr/>
                <p:nvPr/>
              </p:nvPicPr>
              <p:blipFill>
                <a:blip r:embed="rId12" cstate="print"/>
                <a:stretch>
                  <a:fillRect/>
                </a:stretch>
              </p:blipFill>
              <p:spPr>
                <a:xfrm>
                  <a:off x="933890" y="10448262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2" name="object 22"/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1312920" y="10279582"/>
                  <a:ext cx="91751" cy="91751"/>
                </a:xfrm>
                <a:prstGeom prst="rect">
                  <a:avLst/>
                </a:prstGeom>
              </p:spPr>
            </p:pic>
            <p:pic>
              <p:nvPicPr>
                <p:cNvPr id="23" name="object 23"/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985485" y="10279583"/>
                  <a:ext cx="91751" cy="91751"/>
                </a:xfrm>
                <a:prstGeom prst="rect">
                  <a:avLst/>
                </a:prstGeom>
              </p:spPr>
            </p:pic>
            <p:sp>
              <p:nvSpPr>
                <p:cNvPr id="24" name="object 24"/>
                <p:cNvSpPr/>
                <p:nvPr/>
              </p:nvSpPr>
              <p:spPr>
                <a:xfrm>
                  <a:off x="1086154" y="10185126"/>
                  <a:ext cx="218440" cy="990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8440" h="99059">
                      <a:moveTo>
                        <a:pt x="50088" y="21932"/>
                      </a:moveTo>
                      <a:lnTo>
                        <a:pt x="46901" y="12433"/>
                      </a:lnTo>
                      <a:lnTo>
                        <a:pt x="40271" y="4914"/>
                      </a:lnTo>
                      <a:lnTo>
                        <a:pt x="31572" y="673"/>
                      </a:lnTo>
                      <a:lnTo>
                        <a:pt x="21920" y="0"/>
                      </a:lnTo>
                      <a:lnTo>
                        <a:pt x="12433" y="3187"/>
                      </a:lnTo>
                      <a:lnTo>
                        <a:pt x="4914" y="9829"/>
                      </a:lnTo>
                      <a:lnTo>
                        <a:pt x="673" y="18516"/>
                      </a:lnTo>
                      <a:lnTo>
                        <a:pt x="0" y="28168"/>
                      </a:lnTo>
                      <a:lnTo>
                        <a:pt x="3187" y="37668"/>
                      </a:lnTo>
                      <a:lnTo>
                        <a:pt x="9817" y="45173"/>
                      </a:lnTo>
                      <a:lnTo>
                        <a:pt x="18516" y="49415"/>
                      </a:lnTo>
                      <a:lnTo>
                        <a:pt x="28168" y="50088"/>
                      </a:lnTo>
                      <a:lnTo>
                        <a:pt x="37668" y="46901"/>
                      </a:lnTo>
                      <a:lnTo>
                        <a:pt x="45173" y="40271"/>
                      </a:lnTo>
                      <a:lnTo>
                        <a:pt x="49415" y="31572"/>
                      </a:lnTo>
                      <a:lnTo>
                        <a:pt x="50088" y="21932"/>
                      </a:lnTo>
                      <a:close/>
                    </a:path>
                    <a:path w="218440" h="99059">
                      <a:moveTo>
                        <a:pt x="134150" y="73469"/>
                      </a:moveTo>
                      <a:lnTo>
                        <a:pt x="132168" y="63652"/>
                      </a:lnTo>
                      <a:lnTo>
                        <a:pt x="126758" y="55626"/>
                      </a:lnTo>
                      <a:lnTo>
                        <a:pt x="118745" y="50215"/>
                      </a:lnTo>
                      <a:lnTo>
                        <a:pt x="108915" y="48234"/>
                      </a:lnTo>
                      <a:lnTo>
                        <a:pt x="99098" y="50215"/>
                      </a:lnTo>
                      <a:lnTo>
                        <a:pt x="91071" y="55626"/>
                      </a:lnTo>
                      <a:lnTo>
                        <a:pt x="85674" y="63652"/>
                      </a:lnTo>
                      <a:lnTo>
                        <a:pt x="83680" y="73469"/>
                      </a:lnTo>
                      <a:lnTo>
                        <a:pt x="85674" y="83286"/>
                      </a:lnTo>
                      <a:lnTo>
                        <a:pt x="91071" y="91313"/>
                      </a:lnTo>
                      <a:lnTo>
                        <a:pt x="99098" y="96723"/>
                      </a:lnTo>
                      <a:lnTo>
                        <a:pt x="108915" y="98704"/>
                      </a:lnTo>
                      <a:lnTo>
                        <a:pt x="118745" y="96723"/>
                      </a:lnTo>
                      <a:lnTo>
                        <a:pt x="126758" y="91313"/>
                      </a:lnTo>
                      <a:lnTo>
                        <a:pt x="132168" y="83286"/>
                      </a:lnTo>
                      <a:lnTo>
                        <a:pt x="134150" y="73469"/>
                      </a:lnTo>
                      <a:close/>
                    </a:path>
                    <a:path w="218440" h="99059">
                      <a:moveTo>
                        <a:pt x="217830" y="28155"/>
                      </a:moveTo>
                      <a:lnTo>
                        <a:pt x="217157" y="18516"/>
                      </a:lnTo>
                      <a:lnTo>
                        <a:pt x="212915" y="9817"/>
                      </a:lnTo>
                      <a:lnTo>
                        <a:pt x="205409" y="3187"/>
                      </a:lnTo>
                      <a:lnTo>
                        <a:pt x="195910" y="0"/>
                      </a:lnTo>
                      <a:lnTo>
                        <a:pt x="186258" y="673"/>
                      </a:lnTo>
                      <a:lnTo>
                        <a:pt x="177558" y="4914"/>
                      </a:lnTo>
                      <a:lnTo>
                        <a:pt x="170942" y="12420"/>
                      </a:lnTo>
                      <a:lnTo>
                        <a:pt x="167754" y="21920"/>
                      </a:lnTo>
                      <a:lnTo>
                        <a:pt x="168427" y="31572"/>
                      </a:lnTo>
                      <a:lnTo>
                        <a:pt x="172669" y="40271"/>
                      </a:lnTo>
                      <a:lnTo>
                        <a:pt x="180174" y="46901"/>
                      </a:lnTo>
                      <a:lnTo>
                        <a:pt x="189674" y="50088"/>
                      </a:lnTo>
                      <a:lnTo>
                        <a:pt x="199313" y="49415"/>
                      </a:lnTo>
                      <a:lnTo>
                        <a:pt x="208013" y="45173"/>
                      </a:lnTo>
                      <a:lnTo>
                        <a:pt x="214642" y="37655"/>
                      </a:lnTo>
                      <a:lnTo>
                        <a:pt x="217830" y="2815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defTabSz="554492"/>
                  <a:endParaRPr sz="1092" kern="0">
                    <a:solidFill>
                      <a:sysClr val="windowText" lastClr="000000"/>
                    </a:solidFill>
                  </a:endParaRPr>
                </a:p>
              </p:txBody>
            </p:sp>
          </p:grpSp>
          <p:grpSp>
            <p:nvGrpSpPr>
              <p:cNvPr id="6" name="object 25"/>
              <p:cNvGrpSpPr/>
              <p:nvPr/>
            </p:nvGrpSpPr>
            <p:grpSpPr>
              <a:xfrm>
                <a:off x="477744" y="5914708"/>
                <a:ext cx="494808" cy="233349"/>
                <a:chOff x="787129" y="9753791"/>
                <a:chExt cx="815975" cy="384810"/>
              </a:xfrm>
            </p:grpSpPr>
            <p:pic>
              <p:nvPicPr>
                <p:cNvPr id="26" name="object 26"/>
                <p:cNvPicPr/>
                <p:nvPr/>
              </p:nvPicPr>
              <p:blipFill>
                <a:blip r:embed="rId11" cstate="print"/>
                <a:stretch>
                  <a:fillRect/>
                </a:stretch>
              </p:blipFill>
              <p:spPr>
                <a:xfrm>
                  <a:off x="933889" y="9753796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7" name="object 27"/>
                <p:cNvPicPr/>
                <p:nvPr/>
              </p:nvPicPr>
              <p:blipFill>
                <a:blip r:embed="rId12" cstate="print"/>
                <a:stretch>
                  <a:fillRect/>
                </a:stretch>
              </p:blipFill>
              <p:spPr>
                <a:xfrm>
                  <a:off x="787129" y="9900552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8" name="object 28"/>
                <p:cNvPicPr/>
                <p:nvPr/>
              </p:nvPicPr>
              <p:blipFill>
                <a:blip r:embed="rId9" cstate="print"/>
                <a:stretch>
                  <a:fillRect/>
                </a:stretch>
              </p:blipFill>
              <p:spPr>
                <a:xfrm>
                  <a:off x="1481595" y="9900551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29" name="object 29"/>
                <p:cNvPicPr/>
                <p:nvPr/>
              </p:nvPicPr>
              <p:blipFill>
                <a:blip r:embed="rId10" cstate="print"/>
                <a:stretch>
                  <a:fillRect/>
                </a:stretch>
              </p:blipFill>
              <p:spPr>
                <a:xfrm>
                  <a:off x="1334838" y="9753791"/>
                  <a:ext cx="121427" cy="121427"/>
                </a:xfrm>
                <a:prstGeom prst="rect">
                  <a:avLst/>
                </a:prstGeom>
              </p:spPr>
            </p:pic>
            <p:pic>
              <p:nvPicPr>
                <p:cNvPr id="30" name="object 30"/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985484" y="9952147"/>
                  <a:ext cx="91751" cy="91751"/>
                </a:xfrm>
                <a:prstGeom prst="rect">
                  <a:avLst/>
                </a:prstGeom>
              </p:spPr>
            </p:pic>
            <p:pic>
              <p:nvPicPr>
                <p:cNvPr id="31" name="object 31"/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1312920" y="9952146"/>
                  <a:ext cx="91751" cy="91751"/>
                </a:xfrm>
                <a:prstGeom prst="rect">
                  <a:avLst/>
                </a:prstGeom>
              </p:spPr>
            </p:pic>
            <p:sp>
              <p:nvSpPr>
                <p:cNvPr id="32" name="object 32"/>
                <p:cNvSpPr/>
                <p:nvPr/>
              </p:nvSpPr>
              <p:spPr>
                <a:xfrm>
                  <a:off x="1086154" y="10039660"/>
                  <a:ext cx="218440" cy="990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8440" h="99059">
                      <a:moveTo>
                        <a:pt x="50088" y="76784"/>
                      </a:moveTo>
                      <a:lnTo>
                        <a:pt x="49415" y="67132"/>
                      </a:lnTo>
                      <a:lnTo>
                        <a:pt x="45173" y="58445"/>
                      </a:lnTo>
                      <a:lnTo>
                        <a:pt x="37655" y="51816"/>
                      </a:lnTo>
                      <a:lnTo>
                        <a:pt x="28168" y="48615"/>
                      </a:lnTo>
                      <a:lnTo>
                        <a:pt x="18516" y="49288"/>
                      </a:lnTo>
                      <a:lnTo>
                        <a:pt x="9817" y="53530"/>
                      </a:lnTo>
                      <a:lnTo>
                        <a:pt x="3187" y="61048"/>
                      </a:lnTo>
                      <a:lnTo>
                        <a:pt x="0" y="70548"/>
                      </a:lnTo>
                      <a:lnTo>
                        <a:pt x="673" y="80187"/>
                      </a:lnTo>
                      <a:lnTo>
                        <a:pt x="4914" y="88887"/>
                      </a:lnTo>
                      <a:lnTo>
                        <a:pt x="12420" y="95516"/>
                      </a:lnTo>
                      <a:lnTo>
                        <a:pt x="21920" y="98704"/>
                      </a:lnTo>
                      <a:lnTo>
                        <a:pt x="31572" y="98031"/>
                      </a:lnTo>
                      <a:lnTo>
                        <a:pt x="40271" y="93789"/>
                      </a:lnTo>
                      <a:lnTo>
                        <a:pt x="46901" y="86283"/>
                      </a:lnTo>
                      <a:lnTo>
                        <a:pt x="50088" y="76784"/>
                      </a:lnTo>
                      <a:close/>
                    </a:path>
                    <a:path w="218440" h="99059">
                      <a:moveTo>
                        <a:pt x="134150" y="25234"/>
                      </a:moveTo>
                      <a:lnTo>
                        <a:pt x="132168" y="15417"/>
                      </a:lnTo>
                      <a:lnTo>
                        <a:pt x="126758" y="7391"/>
                      </a:lnTo>
                      <a:lnTo>
                        <a:pt x="118732" y="1981"/>
                      </a:lnTo>
                      <a:lnTo>
                        <a:pt x="108915" y="0"/>
                      </a:lnTo>
                      <a:lnTo>
                        <a:pt x="99098" y="1981"/>
                      </a:lnTo>
                      <a:lnTo>
                        <a:pt x="91071" y="7391"/>
                      </a:lnTo>
                      <a:lnTo>
                        <a:pt x="85674" y="15417"/>
                      </a:lnTo>
                      <a:lnTo>
                        <a:pt x="83693" y="25234"/>
                      </a:lnTo>
                      <a:lnTo>
                        <a:pt x="85674" y="35064"/>
                      </a:lnTo>
                      <a:lnTo>
                        <a:pt x="91071" y="43078"/>
                      </a:lnTo>
                      <a:lnTo>
                        <a:pt x="99098" y="48488"/>
                      </a:lnTo>
                      <a:lnTo>
                        <a:pt x="108915" y="50469"/>
                      </a:lnTo>
                      <a:lnTo>
                        <a:pt x="118732" y="48488"/>
                      </a:lnTo>
                      <a:lnTo>
                        <a:pt x="126758" y="43078"/>
                      </a:lnTo>
                      <a:lnTo>
                        <a:pt x="132168" y="35064"/>
                      </a:lnTo>
                      <a:lnTo>
                        <a:pt x="134150" y="25234"/>
                      </a:lnTo>
                      <a:close/>
                    </a:path>
                    <a:path w="218440" h="99059">
                      <a:moveTo>
                        <a:pt x="217830" y="70535"/>
                      </a:moveTo>
                      <a:lnTo>
                        <a:pt x="214642" y="61048"/>
                      </a:lnTo>
                      <a:lnTo>
                        <a:pt x="208013" y="53530"/>
                      </a:lnTo>
                      <a:lnTo>
                        <a:pt x="199326" y="49288"/>
                      </a:lnTo>
                      <a:lnTo>
                        <a:pt x="189674" y="48615"/>
                      </a:lnTo>
                      <a:lnTo>
                        <a:pt x="180174" y="51803"/>
                      </a:lnTo>
                      <a:lnTo>
                        <a:pt x="172656" y="58432"/>
                      </a:lnTo>
                      <a:lnTo>
                        <a:pt x="168414" y="67132"/>
                      </a:lnTo>
                      <a:lnTo>
                        <a:pt x="167741" y="76771"/>
                      </a:lnTo>
                      <a:lnTo>
                        <a:pt x="170942" y="86283"/>
                      </a:lnTo>
                      <a:lnTo>
                        <a:pt x="177571" y="93789"/>
                      </a:lnTo>
                      <a:lnTo>
                        <a:pt x="186258" y="98031"/>
                      </a:lnTo>
                      <a:lnTo>
                        <a:pt x="195910" y="98704"/>
                      </a:lnTo>
                      <a:lnTo>
                        <a:pt x="205409" y="95516"/>
                      </a:lnTo>
                      <a:lnTo>
                        <a:pt x="212915" y="88887"/>
                      </a:lnTo>
                      <a:lnTo>
                        <a:pt x="217157" y="80187"/>
                      </a:lnTo>
                      <a:lnTo>
                        <a:pt x="217830" y="705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defTabSz="554492"/>
                  <a:endParaRPr sz="1092" kern="0">
                    <a:solidFill>
                      <a:sysClr val="windowText" lastClr="000000"/>
                    </a:solidFill>
                  </a:endParaRPr>
                </a:p>
              </p:txBody>
            </p:sp>
          </p:grpSp>
        </p:grpSp>
        <p:sp>
          <p:nvSpPr>
            <p:cNvPr id="36" name="object 5"/>
            <p:cNvSpPr txBox="1"/>
            <p:nvPr userDrawn="1"/>
          </p:nvSpPr>
          <p:spPr>
            <a:xfrm>
              <a:off x="2912742" y="5954916"/>
              <a:ext cx="1338661" cy="438363"/>
            </a:xfrm>
            <a:prstGeom prst="rect">
              <a:avLst/>
            </a:prstGeom>
          </p:spPr>
          <p:txBody>
            <a:bodyPr vert="horz" wrap="square" lIns="0" tIns="27724" rIns="0" bIns="0" rtlCol="0">
              <a:spAutoFit/>
            </a:bodyPr>
            <a:lstStyle/>
            <a:p>
              <a:pPr marL="7701" marR="3081" defTabSz="554492">
                <a:lnSpc>
                  <a:spcPts val="1601"/>
                </a:lnSpc>
                <a:spcBef>
                  <a:spcPts val="218"/>
                </a:spcBef>
              </a:pPr>
              <a:r>
                <a:rPr lang="en-GB" sz="1450" kern="0" dirty="0">
                  <a:solidFill>
                    <a:srgbClr val="DBFF51"/>
                  </a:solidFill>
                  <a:latin typeface="UKCEH Suisse" panose="020B0504000000000000" pitchFamily="34" charset="-78"/>
                  <a:cs typeface="UKCEH Suisse" panose="020B0504000000000000" pitchFamily="34" charset="-78"/>
                </a:rPr>
                <a:t>Our planet. Decoded</a:t>
              </a:r>
              <a:r>
                <a:rPr sz="1450" kern="0" spc="-6" dirty="0">
                  <a:solidFill>
                    <a:srgbClr val="DBFF51"/>
                  </a:solidFill>
                  <a:latin typeface="UKCEH Suisse" panose="020B0504000000000000" pitchFamily="34" charset="-78"/>
                  <a:cs typeface="UKCEH Suisse" panose="020B0504000000000000" pitchFamily="34" charset="-78"/>
                </a:rPr>
                <a:t>.</a:t>
              </a:r>
              <a:endParaRPr sz="1450" kern="0" dirty="0">
                <a:solidFill>
                  <a:sysClr val="windowText" lastClr="000000"/>
                </a:solidFill>
                <a:latin typeface="UKCEH Suisse" panose="020B0504000000000000" pitchFamily="34" charset="-78"/>
                <a:cs typeface="UKCEH Suisse" panose="020B0504000000000000" pitchFamily="34" charset="-78"/>
              </a:endParaRPr>
            </a:p>
          </p:txBody>
        </p:sp>
      </p:grpSp>
      <p:sp>
        <p:nvSpPr>
          <p:cNvPr id="38" name="Content Placeholder 37">
            <a:extLst>
              <a:ext uri="{FF2B5EF4-FFF2-40B4-BE49-F238E27FC236}">
                <a16:creationId xmlns:a16="http://schemas.microsoft.com/office/drawing/2014/main" id="{4A4C3D98-3DC2-4C00-6BA1-FB8398880F6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1799" y="464721"/>
            <a:ext cx="11315511" cy="2297745"/>
          </a:xfrm>
        </p:spPr>
        <p:txBody>
          <a:bodyPr/>
          <a:lstStyle>
            <a:lvl1pPr>
              <a:lnSpc>
                <a:spcPct val="75000"/>
              </a:lnSpc>
              <a:spcBef>
                <a:spcPts val="1600"/>
              </a:spcBef>
              <a:spcAft>
                <a:spcPts val="0"/>
              </a:spcAft>
              <a:buFontTx/>
              <a:buNone/>
              <a:defRPr sz="5400" spc="-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76000"/>
              </a:lnSpc>
              <a:spcBef>
                <a:spcPts val="1600"/>
              </a:spcBef>
              <a:buFontTx/>
              <a:buNone/>
              <a:tabLst/>
              <a:defRPr sz="8000" spc="-300" baseline="0">
                <a:solidFill>
                  <a:schemeClr val="bg1"/>
                </a:solidFill>
                <a:latin typeface="+mn-lt"/>
              </a:defRPr>
            </a:lvl2pPr>
            <a:lvl3pPr>
              <a:buFontTx/>
              <a:buNone/>
              <a:defRPr>
                <a:solidFill>
                  <a:schemeClr val="bg1"/>
                </a:solidFill>
              </a:defRPr>
            </a:lvl3pPr>
            <a:lvl4pPr>
              <a:buFontTx/>
              <a:buNone/>
              <a:defRPr>
                <a:solidFill>
                  <a:schemeClr val="bg1"/>
                </a:solidFill>
              </a:defRPr>
            </a:lvl4pPr>
            <a:lvl5pPr>
              <a:buFontTx/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Title 1</a:t>
            </a:r>
          </a:p>
          <a:p>
            <a:pPr lvl="1"/>
            <a:r>
              <a:rPr lang="en-US" dirty="0"/>
              <a:t>Title 2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B7D5D87-19D6-AB68-11C2-7D8D19E1A9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98123" y="4805391"/>
            <a:ext cx="5321418" cy="716273"/>
          </a:xfrm>
        </p:spPr>
        <p:txBody>
          <a:bodyPr anchor="b"/>
          <a:lstStyle>
            <a:lvl1pPr>
              <a:lnSpc>
                <a:spcPct val="90000"/>
              </a:lnSpc>
              <a:spcAft>
                <a:spcPts val="0"/>
              </a:spcAft>
              <a:defRPr sz="2800" spc="-8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800" spc="-40" baseline="0"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Presentation subtitle goes here over two lines if required.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8257085F-D0E4-D339-8B75-A2DEB1453C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98123" y="5598316"/>
            <a:ext cx="3497262" cy="433616"/>
          </a:xfrm>
        </p:spPr>
        <p:txBody>
          <a:bodyPr anchor="t"/>
          <a:lstStyle>
            <a:lvl1pPr>
              <a:lnSpc>
                <a:spcPct val="100000"/>
              </a:lnSpc>
              <a:spcAft>
                <a:spcPts val="600"/>
              </a:spcAft>
              <a:defRPr sz="1800" spc="-40" baseline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buNone/>
              <a:defRPr sz="1200" cap="all" spc="30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object 31"/>
          <p:cNvSpPr/>
          <p:nvPr/>
        </p:nvSpPr>
        <p:spPr>
          <a:xfrm>
            <a:off x="444896" y="4421568"/>
            <a:ext cx="11302415" cy="0"/>
          </a:xfrm>
          <a:custGeom>
            <a:avLst/>
            <a:gdLst/>
            <a:ahLst/>
            <a:cxnLst/>
            <a:rect l="l" t="t" r="r" b="b"/>
            <a:pathLst>
              <a:path w="18638520">
                <a:moveTo>
                  <a:pt x="0" y="0"/>
                </a:moveTo>
                <a:lnTo>
                  <a:pt x="18638175" y="0"/>
                </a:lnTo>
              </a:path>
            </a:pathLst>
          </a:custGeom>
          <a:ln w="1047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pic>
        <p:nvPicPr>
          <p:cNvPr id="10" name="object 32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476645" y="4508638"/>
            <a:ext cx="50796" cy="50796"/>
          </a:xfrm>
          <a:prstGeom prst="rect">
            <a:avLst/>
          </a:prstGeom>
        </p:spPr>
      </p:pic>
      <p:pic>
        <p:nvPicPr>
          <p:cNvPr id="12" name="object 33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6070602" y="4508638"/>
            <a:ext cx="50796" cy="50796"/>
          </a:xfrm>
          <a:prstGeom prst="rect">
            <a:avLst/>
          </a:prstGeom>
        </p:spPr>
      </p:pic>
      <p:pic>
        <p:nvPicPr>
          <p:cNvPr id="25" name="object 34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11582015" y="4508638"/>
            <a:ext cx="50796" cy="50796"/>
          </a:xfrm>
          <a:prstGeom prst="rect">
            <a:avLst/>
          </a:prstGeom>
        </p:spPr>
      </p:pic>
      <p:sp>
        <p:nvSpPr>
          <p:cNvPr id="35" name="object 35"/>
          <p:cNvSpPr/>
          <p:nvPr/>
        </p:nvSpPr>
        <p:spPr>
          <a:xfrm>
            <a:off x="444896" y="6428729"/>
            <a:ext cx="11302415" cy="0"/>
          </a:xfrm>
          <a:custGeom>
            <a:avLst/>
            <a:gdLst/>
            <a:ahLst/>
            <a:cxnLst/>
            <a:rect l="l" t="t" r="r" b="b"/>
            <a:pathLst>
              <a:path w="18638520">
                <a:moveTo>
                  <a:pt x="0" y="0"/>
                </a:moveTo>
                <a:lnTo>
                  <a:pt x="18638175" y="0"/>
                </a:lnTo>
              </a:path>
            </a:pathLst>
          </a:custGeom>
          <a:ln w="1047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pic>
        <p:nvPicPr>
          <p:cNvPr id="27" name="object 36"/>
          <p:cNvPicPr/>
          <p:nvPr/>
        </p:nvPicPr>
        <p:blipFill>
          <a:blip r:embed="rId16" cstate="print"/>
          <a:stretch>
            <a:fillRect/>
          </a:stretch>
        </p:blipFill>
        <p:spPr>
          <a:xfrm>
            <a:off x="476645" y="6290864"/>
            <a:ext cx="50796" cy="50796"/>
          </a:xfrm>
          <a:prstGeom prst="rect">
            <a:avLst/>
          </a:prstGeom>
        </p:spPr>
      </p:pic>
      <p:pic>
        <p:nvPicPr>
          <p:cNvPr id="37" name="object 37"/>
          <p:cNvPicPr/>
          <p:nvPr/>
        </p:nvPicPr>
        <p:blipFill>
          <a:blip r:embed="rId16" cstate="print"/>
          <a:stretch>
            <a:fillRect/>
          </a:stretch>
        </p:blipFill>
        <p:spPr>
          <a:xfrm>
            <a:off x="6070602" y="6290864"/>
            <a:ext cx="50796" cy="50796"/>
          </a:xfrm>
          <a:prstGeom prst="rect">
            <a:avLst/>
          </a:prstGeom>
        </p:spPr>
      </p:pic>
      <p:pic>
        <p:nvPicPr>
          <p:cNvPr id="40" name="object 38"/>
          <p:cNvPicPr/>
          <p:nvPr/>
        </p:nvPicPr>
        <p:blipFill>
          <a:blip r:embed="rId17" cstate="print"/>
          <a:stretch>
            <a:fillRect/>
          </a:stretch>
        </p:blipFill>
        <p:spPr>
          <a:xfrm>
            <a:off x="11582015" y="6290864"/>
            <a:ext cx="50796" cy="5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244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object 3">
            <a:extLst>
              <a:ext uri="{FF2B5EF4-FFF2-40B4-BE49-F238E27FC236}">
                <a16:creationId xmlns:a16="http://schemas.microsoft.com/office/drawing/2014/main" id="{576A5031-287C-A37D-84F1-F396E449E534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928198" y="0"/>
            <a:ext cx="8263373" cy="6857519"/>
          </a:xfrm>
          <a:prstGeom prst="rect">
            <a:avLst/>
          </a:prstGeom>
        </p:spPr>
      </p:pic>
      <p:sp>
        <p:nvSpPr>
          <p:cNvPr id="38" name="Content Placeholder 37">
            <a:extLst>
              <a:ext uri="{FF2B5EF4-FFF2-40B4-BE49-F238E27FC236}">
                <a16:creationId xmlns:a16="http://schemas.microsoft.com/office/drawing/2014/main" id="{4A4C3D98-3DC2-4C00-6BA1-FB8398880F6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1800" y="464721"/>
            <a:ext cx="9202738" cy="2297745"/>
          </a:xfrm>
        </p:spPr>
        <p:txBody>
          <a:bodyPr/>
          <a:lstStyle>
            <a:lvl1pPr>
              <a:lnSpc>
                <a:spcPct val="75000"/>
              </a:lnSpc>
              <a:spcBef>
                <a:spcPts val="1600"/>
              </a:spcBef>
              <a:spcAft>
                <a:spcPts val="0"/>
              </a:spcAft>
              <a:buFontTx/>
              <a:buNone/>
              <a:defRPr sz="5000" spc="-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76000"/>
              </a:lnSpc>
              <a:spcBef>
                <a:spcPts val="1600"/>
              </a:spcBef>
              <a:buFontTx/>
              <a:buNone/>
              <a:tabLst/>
              <a:defRPr sz="8800" spc="-300" baseline="0">
                <a:solidFill>
                  <a:schemeClr val="bg1"/>
                </a:solidFill>
                <a:latin typeface="+mn-lt"/>
              </a:defRPr>
            </a:lvl2pPr>
            <a:lvl3pPr>
              <a:buFontTx/>
              <a:buNone/>
              <a:defRPr>
                <a:solidFill>
                  <a:schemeClr val="bg1"/>
                </a:solidFill>
              </a:defRPr>
            </a:lvl3pPr>
            <a:lvl4pPr>
              <a:buFontTx/>
              <a:buNone/>
              <a:defRPr>
                <a:solidFill>
                  <a:schemeClr val="bg1"/>
                </a:solidFill>
              </a:defRPr>
            </a:lvl4pPr>
            <a:lvl5pPr>
              <a:buFontTx/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 sz="3600" spc="-70" baseline="0">
                <a:solidFill>
                  <a:schemeClr val="tx2"/>
                </a:solidFill>
              </a:defRPr>
            </a:lvl7pPr>
          </a:lstStyle>
          <a:p>
            <a:pPr lvl="6"/>
            <a:r>
              <a:rPr lang="en-US" dirty="0"/>
              <a:t>Subtitle</a:t>
            </a:r>
          </a:p>
          <a:p>
            <a:pPr lvl="0"/>
            <a:r>
              <a:rPr lang="en-US" dirty="0"/>
              <a:t>Title 2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647EFED-A9B0-34B0-D7E6-D1AABFE9A0C5}"/>
              </a:ext>
            </a:extLst>
          </p:cNvPr>
          <p:cNvGrpSpPr/>
          <p:nvPr userDrawn="1"/>
        </p:nvGrpSpPr>
        <p:grpSpPr>
          <a:xfrm>
            <a:off x="444892" y="5904961"/>
            <a:ext cx="3936603" cy="556898"/>
            <a:chOff x="444893" y="5867945"/>
            <a:chExt cx="2923418" cy="413566"/>
          </a:xfrm>
        </p:grpSpPr>
        <p:sp>
          <p:nvSpPr>
            <p:cNvPr id="41" name="object 5">
              <a:extLst>
                <a:ext uri="{FF2B5EF4-FFF2-40B4-BE49-F238E27FC236}">
                  <a16:creationId xmlns:a16="http://schemas.microsoft.com/office/drawing/2014/main" id="{EE24C5D3-36AE-9435-A3A7-AFF89035C0C4}"/>
                </a:ext>
              </a:extLst>
            </p:cNvPr>
            <p:cNvSpPr/>
            <p:nvPr userDrawn="1"/>
          </p:nvSpPr>
          <p:spPr>
            <a:xfrm>
              <a:off x="926645" y="5947946"/>
              <a:ext cx="1083187" cy="251832"/>
            </a:xfrm>
            <a:custGeom>
              <a:avLst/>
              <a:gdLst/>
              <a:ahLst/>
              <a:cxnLst/>
              <a:rect l="l" t="t" r="r" b="b"/>
              <a:pathLst>
                <a:path w="1786254" h="415290">
                  <a:moveTo>
                    <a:pt x="56364" y="7183"/>
                  </a:moveTo>
                  <a:lnTo>
                    <a:pt x="0" y="7183"/>
                  </a:lnTo>
                  <a:lnTo>
                    <a:pt x="0" y="244840"/>
                  </a:lnTo>
                  <a:lnTo>
                    <a:pt x="4117" y="300816"/>
                  </a:lnTo>
                  <a:lnTo>
                    <a:pt x="16723" y="344480"/>
                  </a:lnTo>
                  <a:lnTo>
                    <a:pt x="38204" y="376784"/>
                  </a:lnTo>
                  <a:lnTo>
                    <a:pt x="109320" y="411120"/>
                  </a:lnTo>
                  <a:lnTo>
                    <a:pt x="159722" y="415055"/>
                  </a:lnTo>
                  <a:lnTo>
                    <a:pt x="212167" y="410254"/>
                  </a:lnTo>
                  <a:lnTo>
                    <a:pt x="253389" y="395812"/>
                  </a:lnTo>
                  <a:lnTo>
                    <a:pt x="284141" y="371668"/>
                  </a:lnTo>
                  <a:lnTo>
                    <a:pt x="287398" y="366418"/>
                  </a:lnTo>
                  <a:lnTo>
                    <a:pt x="159722" y="366418"/>
                  </a:lnTo>
                  <a:lnTo>
                    <a:pt x="111865" y="359484"/>
                  </a:lnTo>
                  <a:lnTo>
                    <a:pt x="79858" y="338302"/>
                  </a:lnTo>
                  <a:lnTo>
                    <a:pt x="61945" y="302299"/>
                  </a:lnTo>
                  <a:lnTo>
                    <a:pt x="56364" y="250903"/>
                  </a:lnTo>
                  <a:lnTo>
                    <a:pt x="56364" y="7183"/>
                  </a:lnTo>
                  <a:close/>
                </a:path>
                <a:path w="1786254" h="415290">
                  <a:moveTo>
                    <a:pt x="321100" y="7183"/>
                  </a:moveTo>
                  <a:lnTo>
                    <a:pt x="264724" y="7183"/>
                  </a:lnTo>
                  <a:lnTo>
                    <a:pt x="264724" y="244840"/>
                  </a:lnTo>
                  <a:lnTo>
                    <a:pt x="259121" y="297170"/>
                  </a:lnTo>
                  <a:lnTo>
                    <a:pt x="241033" y="335259"/>
                  </a:lnTo>
                  <a:lnTo>
                    <a:pt x="208539" y="358532"/>
                  </a:lnTo>
                  <a:lnTo>
                    <a:pt x="159722" y="366418"/>
                  </a:lnTo>
                  <a:lnTo>
                    <a:pt x="287398" y="366418"/>
                  </a:lnTo>
                  <a:lnTo>
                    <a:pt x="305175" y="337760"/>
                  </a:lnTo>
                  <a:lnTo>
                    <a:pt x="317244" y="294028"/>
                  </a:lnTo>
                  <a:lnTo>
                    <a:pt x="321100" y="240411"/>
                  </a:lnTo>
                  <a:lnTo>
                    <a:pt x="321100" y="7183"/>
                  </a:lnTo>
                  <a:close/>
                </a:path>
                <a:path w="1786254" h="415290">
                  <a:moveTo>
                    <a:pt x="449860" y="7183"/>
                  </a:moveTo>
                  <a:lnTo>
                    <a:pt x="393485" y="7183"/>
                  </a:lnTo>
                  <a:lnTo>
                    <a:pt x="393485" y="407861"/>
                  </a:lnTo>
                  <a:lnTo>
                    <a:pt x="449860" y="407861"/>
                  </a:lnTo>
                  <a:lnTo>
                    <a:pt x="449860" y="281855"/>
                  </a:lnTo>
                  <a:lnTo>
                    <a:pt x="512874" y="212223"/>
                  </a:lnTo>
                  <a:lnTo>
                    <a:pt x="580177" y="212223"/>
                  </a:lnTo>
                  <a:lnTo>
                    <a:pt x="577840" y="208904"/>
                  </a:lnTo>
                  <a:lnTo>
                    <a:pt x="449860" y="208904"/>
                  </a:lnTo>
                  <a:lnTo>
                    <a:pt x="449860" y="7183"/>
                  </a:lnTo>
                  <a:close/>
                </a:path>
                <a:path w="1786254" h="415290">
                  <a:moveTo>
                    <a:pt x="580177" y="212223"/>
                  </a:moveTo>
                  <a:lnTo>
                    <a:pt x="512874" y="212223"/>
                  </a:lnTo>
                  <a:lnTo>
                    <a:pt x="650482" y="407861"/>
                  </a:lnTo>
                  <a:lnTo>
                    <a:pt x="717915" y="407861"/>
                  </a:lnTo>
                  <a:lnTo>
                    <a:pt x="580177" y="212223"/>
                  </a:lnTo>
                  <a:close/>
                </a:path>
                <a:path w="1786254" h="415290">
                  <a:moveTo>
                    <a:pt x="700784" y="7183"/>
                  </a:moveTo>
                  <a:lnTo>
                    <a:pt x="630588" y="7183"/>
                  </a:lnTo>
                  <a:lnTo>
                    <a:pt x="449860" y="208904"/>
                  </a:lnTo>
                  <a:lnTo>
                    <a:pt x="577840" y="208904"/>
                  </a:lnTo>
                  <a:lnTo>
                    <a:pt x="550998" y="170780"/>
                  </a:lnTo>
                  <a:lnTo>
                    <a:pt x="700784" y="7183"/>
                  </a:lnTo>
                  <a:close/>
                </a:path>
                <a:path w="1786254" h="415290">
                  <a:moveTo>
                    <a:pt x="906359" y="0"/>
                  </a:moveTo>
                  <a:lnTo>
                    <a:pt x="860544" y="4952"/>
                  </a:lnTo>
                  <a:lnTo>
                    <a:pt x="820133" y="19321"/>
                  </a:lnTo>
                  <a:lnTo>
                    <a:pt x="785725" y="42372"/>
                  </a:lnTo>
                  <a:lnTo>
                    <a:pt x="757919" y="73369"/>
                  </a:lnTo>
                  <a:lnTo>
                    <a:pt x="737316" y="111579"/>
                  </a:lnTo>
                  <a:lnTo>
                    <a:pt x="724514" y="156265"/>
                  </a:lnTo>
                  <a:lnTo>
                    <a:pt x="720114" y="206695"/>
                  </a:lnTo>
                  <a:lnTo>
                    <a:pt x="724153" y="256521"/>
                  </a:lnTo>
                  <a:lnTo>
                    <a:pt x="736051" y="301175"/>
                  </a:lnTo>
                  <a:lnTo>
                    <a:pt x="755481" y="339748"/>
                  </a:lnTo>
                  <a:lnTo>
                    <a:pt x="782113" y="371332"/>
                  </a:lnTo>
                  <a:lnTo>
                    <a:pt x="815619" y="395016"/>
                  </a:lnTo>
                  <a:lnTo>
                    <a:pt x="855671" y="409894"/>
                  </a:lnTo>
                  <a:lnTo>
                    <a:pt x="901941" y="415055"/>
                  </a:lnTo>
                  <a:lnTo>
                    <a:pt x="951607" y="409519"/>
                  </a:lnTo>
                  <a:lnTo>
                    <a:pt x="995412" y="393053"/>
                  </a:lnTo>
                  <a:lnTo>
                    <a:pt x="1029522" y="367528"/>
                  </a:lnTo>
                  <a:lnTo>
                    <a:pt x="905249" y="367528"/>
                  </a:lnTo>
                  <a:lnTo>
                    <a:pt x="863324" y="360564"/>
                  </a:lnTo>
                  <a:lnTo>
                    <a:pt x="828083" y="340202"/>
                  </a:lnTo>
                  <a:lnTo>
                    <a:pt x="801039" y="307239"/>
                  </a:lnTo>
                  <a:lnTo>
                    <a:pt x="783703" y="262472"/>
                  </a:lnTo>
                  <a:lnTo>
                    <a:pt x="777588" y="206695"/>
                  </a:lnTo>
                  <a:lnTo>
                    <a:pt x="783902" y="150243"/>
                  </a:lnTo>
                  <a:lnTo>
                    <a:pt x="801569" y="105782"/>
                  </a:lnTo>
                  <a:lnTo>
                    <a:pt x="828680" y="73630"/>
                  </a:lnTo>
                  <a:lnTo>
                    <a:pt x="863326" y="54106"/>
                  </a:lnTo>
                  <a:lnTo>
                    <a:pt x="903595" y="47527"/>
                  </a:lnTo>
                  <a:lnTo>
                    <a:pt x="1027140" y="47527"/>
                  </a:lnTo>
                  <a:lnTo>
                    <a:pt x="995829" y="22797"/>
                  </a:lnTo>
                  <a:lnTo>
                    <a:pt x="953853" y="5801"/>
                  </a:lnTo>
                  <a:lnTo>
                    <a:pt x="906359" y="0"/>
                  </a:lnTo>
                  <a:close/>
                </a:path>
                <a:path w="1786254" h="415290">
                  <a:moveTo>
                    <a:pt x="1075475" y="280200"/>
                  </a:moveTo>
                  <a:lnTo>
                    <a:pt x="1020754" y="280200"/>
                  </a:lnTo>
                  <a:lnTo>
                    <a:pt x="1006364" y="315526"/>
                  </a:lnTo>
                  <a:lnTo>
                    <a:pt x="982281" y="343136"/>
                  </a:lnTo>
                  <a:lnTo>
                    <a:pt x="948559" y="361110"/>
                  </a:lnTo>
                  <a:lnTo>
                    <a:pt x="905249" y="367528"/>
                  </a:lnTo>
                  <a:lnTo>
                    <a:pt x="1029522" y="367528"/>
                  </a:lnTo>
                  <a:lnTo>
                    <a:pt x="1031738" y="365869"/>
                  </a:lnTo>
                  <a:lnTo>
                    <a:pt x="1058965" y="328181"/>
                  </a:lnTo>
                  <a:lnTo>
                    <a:pt x="1075475" y="280200"/>
                  </a:lnTo>
                  <a:close/>
                </a:path>
                <a:path w="1786254" h="415290">
                  <a:moveTo>
                    <a:pt x="1027140" y="47527"/>
                  </a:moveTo>
                  <a:lnTo>
                    <a:pt x="903595" y="47527"/>
                  </a:lnTo>
                  <a:lnTo>
                    <a:pt x="946750" y="54106"/>
                  </a:lnTo>
                  <a:lnTo>
                    <a:pt x="980553" y="72330"/>
                  </a:lnTo>
                  <a:lnTo>
                    <a:pt x="1004627" y="99988"/>
                  </a:lnTo>
                  <a:lnTo>
                    <a:pt x="1018544" y="134844"/>
                  </a:lnTo>
                  <a:lnTo>
                    <a:pt x="1073265" y="134844"/>
                  </a:lnTo>
                  <a:lnTo>
                    <a:pt x="1057074" y="87929"/>
                  </a:lnTo>
                  <a:lnTo>
                    <a:pt x="1030749" y="50377"/>
                  </a:lnTo>
                  <a:lnTo>
                    <a:pt x="1027140" y="47527"/>
                  </a:lnTo>
                  <a:close/>
                </a:path>
                <a:path w="1786254" h="415290">
                  <a:moveTo>
                    <a:pt x="1401548" y="7183"/>
                  </a:moveTo>
                  <a:lnTo>
                    <a:pt x="1129640" y="7183"/>
                  </a:lnTo>
                  <a:lnTo>
                    <a:pt x="1129640" y="407861"/>
                  </a:lnTo>
                  <a:lnTo>
                    <a:pt x="1401548" y="407861"/>
                  </a:lnTo>
                  <a:lnTo>
                    <a:pt x="1401548" y="359235"/>
                  </a:lnTo>
                  <a:lnTo>
                    <a:pt x="1186005" y="359235"/>
                  </a:lnTo>
                  <a:lnTo>
                    <a:pt x="1186005" y="226035"/>
                  </a:lnTo>
                  <a:lnTo>
                    <a:pt x="1388837" y="226035"/>
                  </a:lnTo>
                  <a:lnTo>
                    <a:pt x="1388837" y="177408"/>
                  </a:lnTo>
                  <a:lnTo>
                    <a:pt x="1186005" y="177408"/>
                  </a:lnTo>
                  <a:lnTo>
                    <a:pt x="1186005" y="55820"/>
                  </a:lnTo>
                  <a:lnTo>
                    <a:pt x="1401548" y="55820"/>
                  </a:lnTo>
                  <a:lnTo>
                    <a:pt x="1401548" y="7183"/>
                  </a:lnTo>
                  <a:close/>
                </a:path>
                <a:path w="1786254" h="415290">
                  <a:moveTo>
                    <a:pt x="1519262" y="7183"/>
                  </a:moveTo>
                  <a:lnTo>
                    <a:pt x="1462887" y="7183"/>
                  </a:lnTo>
                  <a:lnTo>
                    <a:pt x="1462887" y="407861"/>
                  </a:lnTo>
                  <a:lnTo>
                    <a:pt x="1519262" y="407861"/>
                  </a:lnTo>
                  <a:lnTo>
                    <a:pt x="1519262" y="226035"/>
                  </a:lnTo>
                  <a:lnTo>
                    <a:pt x="1786196" y="226035"/>
                  </a:lnTo>
                  <a:lnTo>
                    <a:pt x="1786196" y="177408"/>
                  </a:lnTo>
                  <a:lnTo>
                    <a:pt x="1519262" y="177408"/>
                  </a:lnTo>
                  <a:lnTo>
                    <a:pt x="1519262" y="7183"/>
                  </a:lnTo>
                  <a:close/>
                </a:path>
                <a:path w="1786254" h="415290">
                  <a:moveTo>
                    <a:pt x="1786196" y="226035"/>
                  </a:moveTo>
                  <a:lnTo>
                    <a:pt x="1729832" y="226035"/>
                  </a:lnTo>
                  <a:lnTo>
                    <a:pt x="1729832" y="407861"/>
                  </a:lnTo>
                  <a:lnTo>
                    <a:pt x="1786196" y="407861"/>
                  </a:lnTo>
                  <a:lnTo>
                    <a:pt x="1786196" y="226035"/>
                  </a:lnTo>
                  <a:close/>
                </a:path>
                <a:path w="1786254" h="415290">
                  <a:moveTo>
                    <a:pt x="1786196" y="7183"/>
                  </a:moveTo>
                  <a:lnTo>
                    <a:pt x="1729832" y="7183"/>
                  </a:lnTo>
                  <a:lnTo>
                    <a:pt x="1729832" y="177408"/>
                  </a:lnTo>
                  <a:lnTo>
                    <a:pt x="1786196" y="177408"/>
                  </a:lnTo>
                  <a:lnTo>
                    <a:pt x="1786196" y="718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42" name="object 6">
              <a:extLst>
                <a:ext uri="{FF2B5EF4-FFF2-40B4-BE49-F238E27FC236}">
                  <a16:creationId xmlns:a16="http://schemas.microsoft.com/office/drawing/2014/main" id="{D78B6100-9F62-4F3E-F21F-F628279F24AB}"/>
                </a:ext>
              </a:extLst>
            </p:cNvPr>
            <p:cNvPicPr/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624307" y="5867945"/>
              <a:ext cx="54739" cy="54745"/>
            </a:xfrm>
            <a:prstGeom prst="rect">
              <a:avLst/>
            </a:prstGeom>
          </p:spPr>
        </p:pic>
        <p:pic>
          <p:nvPicPr>
            <p:cNvPr id="44" name="object 7">
              <a:extLst>
                <a:ext uri="{FF2B5EF4-FFF2-40B4-BE49-F238E27FC236}">
                  <a16:creationId xmlns:a16="http://schemas.microsoft.com/office/drawing/2014/main" id="{39EAA837-C94F-5A08-28F0-1CAD45CC9468}"/>
                </a:ext>
              </a:extLst>
            </p:cNvPr>
            <p:cNvPicPr/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624307" y="6226766"/>
              <a:ext cx="54739" cy="54745"/>
            </a:xfrm>
            <a:prstGeom prst="rect">
              <a:avLst/>
            </a:prstGeom>
          </p:spPr>
        </p:pic>
        <p:pic>
          <p:nvPicPr>
            <p:cNvPr id="46" name="object 8">
              <a:extLst>
                <a:ext uri="{FF2B5EF4-FFF2-40B4-BE49-F238E27FC236}">
                  <a16:creationId xmlns:a16="http://schemas.microsoft.com/office/drawing/2014/main" id="{18C25E71-E7CF-DA27-2970-16A54D3FD377}"/>
                </a:ext>
              </a:extLst>
            </p:cNvPr>
            <p:cNvPicPr/>
            <p:nvPr userDrawn="1"/>
          </p:nvPicPr>
          <p:blipFill>
            <a:blip r:embed="rId5" cstate="print"/>
            <a:stretch>
              <a:fillRect/>
            </a:stretch>
          </p:blipFill>
          <p:spPr>
            <a:xfrm>
              <a:off x="444893" y="6047359"/>
              <a:ext cx="54745" cy="54739"/>
            </a:xfrm>
            <a:prstGeom prst="rect">
              <a:avLst/>
            </a:prstGeom>
          </p:spPr>
        </p:pic>
        <p:pic>
          <p:nvPicPr>
            <p:cNvPr id="47" name="object 9">
              <a:extLst>
                <a:ext uri="{FF2B5EF4-FFF2-40B4-BE49-F238E27FC236}">
                  <a16:creationId xmlns:a16="http://schemas.microsoft.com/office/drawing/2014/main" id="{B42A8320-CFDA-BD69-8CAE-5E91EFC6FD71}"/>
                </a:ext>
              </a:extLst>
            </p:cNvPr>
            <p:cNvPicPr/>
            <p:nvPr userDrawn="1"/>
          </p:nvPicPr>
          <p:blipFill>
            <a:blip r:embed="rId6" cstate="print"/>
            <a:stretch>
              <a:fillRect/>
            </a:stretch>
          </p:blipFill>
          <p:spPr>
            <a:xfrm>
              <a:off x="803715" y="6047359"/>
              <a:ext cx="54745" cy="54739"/>
            </a:xfrm>
            <a:prstGeom prst="rect">
              <a:avLst/>
            </a:prstGeom>
          </p:spPr>
        </p:pic>
        <p:pic>
          <p:nvPicPr>
            <p:cNvPr id="48" name="object 10">
              <a:extLst>
                <a:ext uri="{FF2B5EF4-FFF2-40B4-BE49-F238E27FC236}">
                  <a16:creationId xmlns:a16="http://schemas.microsoft.com/office/drawing/2014/main" id="{86E01A7E-1E35-E9FE-C408-E69F88FB57F3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631149" y="6157802"/>
              <a:ext cx="41056" cy="41056"/>
            </a:xfrm>
            <a:prstGeom prst="rect">
              <a:avLst/>
            </a:prstGeom>
          </p:spPr>
        </p:pic>
        <p:pic>
          <p:nvPicPr>
            <p:cNvPr id="49" name="object 11">
              <a:extLst>
                <a:ext uri="{FF2B5EF4-FFF2-40B4-BE49-F238E27FC236}">
                  <a16:creationId xmlns:a16="http://schemas.microsoft.com/office/drawing/2014/main" id="{AB3D0445-E7A9-BF39-0E1E-F3B7C106E7DA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631148" y="5950597"/>
              <a:ext cx="41056" cy="41056"/>
            </a:xfrm>
            <a:prstGeom prst="rect">
              <a:avLst/>
            </a:prstGeom>
          </p:spPr>
        </p:pic>
        <p:pic>
          <p:nvPicPr>
            <p:cNvPr id="50" name="object 12">
              <a:extLst>
                <a:ext uri="{FF2B5EF4-FFF2-40B4-BE49-F238E27FC236}">
                  <a16:creationId xmlns:a16="http://schemas.microsoft.com/office/drawing/2014/main" id="{AAEAE0DF-6ADD-64E5-2BA0-51DC4EC103CA}"/>
                </a:ext>
              </a:extLst>
            </p:cNvPr>
            <p:cNvPicPr/>
            <p:nvPr userDrawn="1"/>
          </p:nvPicPr>
          <p:blipFill>
            <a:blip r:embed="rId8" cstate="print"/>
            <a:stretch>
              <a:fillRect/>
            </a:stretch>
          </p:blipFill>
          <p:spPr>
            <a:xfrm>
              <a:off x="527546" y="6054201"/>
              <a:ext cx="41056" cy="41056"/>
            </a:xfrm>
            <a:prstGeom prst="rect">
              <a:avLst/>
            </a:prstGeom>
          </p:spPr>
        </p:pic>
        <p:pic>
          <p:nvPicPr>
            <p:cNvPr id="51" name="object 13">
              <a:extLst>
                <a:ext uri="{FF2B5EF4-FFF2-40B4-BE49-F238E27FC236}">
                  <a16:creationId xmlns:a16="http://schemas.microsoft.com/office/drawing/2014/main" id="{B06603EE-0C70-9947-C227-F41BF915CB75}"/>
                </a:ext>
              </a:extLst>
            </p:cNvPr>
            <p:cNvPicPr/>
            <p:nvPr userDrawn="1"/>
          </p:nvPicPr>
          <p:blipFill>
            <a:blip r:embed="rId8" cstate="print"/>
            <a:stretch>
              <a:fillRect/>
            </a:stretch>
          </p:blipFill>
          <p:spPr>
            <a:xfrm>
              <a:off x="734750" y="6054199"/>
              <a:ext cx="41056" cy="41056"/>
            </a:xfrm>
            <a:prstGeom prst="rect">
              <a:avLst/>
            </a:prstGeom>
          </p:spPr>
        </p:pic>
        <p:sp>
          <p:nvSpPr>
            <p:cNvPr id="52" name="object 14">
              <a:extLst>
                <a:ext uri="{FF2B5EF4-FFF2-40B4-BE49-F238E27FC236}">
                  <a16:creationId xmlns:a16="http://schemas.microsoft.com/office/drawing/2014/main" id="{842D6F75-6495-2782-797D-374FB6A388FF}"/>
                </a:ext>
              </a:extLst>
            </p:cNvPr>
            <p:cNvSpPr/>
            <p:nvPr userDrawn="1"/>
          </p:nvSpPr>
          <p:spPr>
            <a:xfrm>
              <a:off x="469129" y="5892192"/>
              <a:ext cx="365426" cy="365426"/>
            </a:xfrm>
            <a:custGeom>
              <a:avLst/>
              <a:gdLst/>
              <a:ahLst/>
              <a:cxnLst/>
              <a:rect l="l" t="t" r="r" b="b"/>
              <a:pathLst>
                <a:path w="602615" h="602615">
                  <a:moveTo>
                    <a:pt x="89611" y="443382"/>
                  </a:moveTo>
                  <a:lnTo>
                    <a:pt x="83896" y="426389"/>
                  </a:lnTo>
                  <a:lnTo>
                    <a:pt x="72034" y="412940"/>
                  </a:lnTo>
                  <a:lnTo>
                    <a:pt x="56489" y="405358"/>
                  </a:lnTo>
                  <a:lnTo>
                    <a:pt x="39230" y="404152"/>
                  </a:lnTo>
                  <a:lnTo>
                    <a:pt x="22237" y="409867"/>
                  </a:lnTo>
                  <a:lnTo>
                    <a:pt x="8801" y="421716"/>
                  </a:lnTo>
                  <a:lnTo>
                    <a:pt x="1206" y="437261"/>
                  </a:lnTo>
                  <a:lnTo>
                    <a:pt x="0" y="454533"/>
                  </a:lnTo>
                  <a:lnTo>
                    <a:pt x="5715" y="471512"/>
                  </a:lnTo>
                  <a:lnTo>
                    <a:pt x="17576" y="484962"/>
                  </a:lnTo>
                  <a:lnTo>
                    <a:pt x="33121" y="492544"/>
                  </a:lnTo>
                  <a:lnTo>
                    <a:pt x="50393" y="493750"/>
                  </a:lnTo>
                  <a:lnTo>
                    <a:pt x="67373" y="488035"/>
                  </a:lnTo>
                  <a:lnTo>
                    <a:pt x="80822" y="476186"/>
                  </a:lnTo>
                  <a:lnTo>
                    <a:pt x="88404" y="460641"/>
                  </a:lnTo>
                  <a:lnTo>
                    <a:pt x="89611" y="443382"/>
                  </a:lnTo>
                  <a:close/>
                </a:path>
                <a:path w="602615" h="602615">
                  <a:moveTo>
                    <a:pt x="89611" y="158661"/>
                  </a:moveTo>
                  <a:lnTo>
                    <a:pt x="88404" y="141401"/>
                  </a:lnTo>
                  <a:lnTo>
                    <a:pt x="80822" y="125857"/>
                  </a:lnTo>
                  <a:lnTo>
                    <a:pt x="67373" y="114007"/>
                  </a:lnTo>
                  <a:lnTo>
                    <a:pt x="50380" y="108292"/>
                  </a:lnTo>
                  <a:lnTo>
                    <a:pt x="33121" y="109499"/>
                  </a:lnTo>
                  <a:lnTo>
                    <a:pt x="17576" y="117081"/>
                  </a:lnTo>
                  <a:lnTo>
                    <a:pt x="5715" y="130530"/>
                  </a:lnTo>
                  <a:lnTo>
                    <a:pt x="0" y="147510"/>
                  </a:lnTo>
                  <a:lnTo>
                    <a:pt x="1206" y="164782"/>
                  </a:lnTo>
                  <a:lnTo>
                    <a:pt x="8801" y="180327"/>
                  </a:lnTo>
                  <a:lnTo>
                    <a:pt x="22237" y="192176"/>
                  </a:lnTo>
                  <a:lnTo>
                    <a:pt x="39217" y="197891"/>
                  </a:lnTo>
                  <a:lnTo>
                    <a:pt x="56489" y="196684"/>
                  </a:lnTo>
                  <a:lnTo>
                    <a:pt x="72034" y="189103"/>
                  </a:lnTo>
                  <a:lnTo>
                    <a:pt x="83896" y="175653"/>
                  </a:lnTo>
                  <a:lnTo>
                    <a:pt x="89611" y="158661"/>
                  </a:lnTo>
                  <a:close/>
                </a:path>
                <a:path w="602615" h="602615">
                  <a:moveTo>
                    <a:pt x="197904" y="562825"/>
                  </a:moveTo>
                  <a:lnTo>
                    <a:pt x="196697" y="545566"/>
                  </a:lnTo>
                  <a:lnTo>
                    <a:pt x="189103" y="530009"/>
                  </a:lnTo>
                  <a:lnTo>
                    <a:pt x="175666" y="518160"/>
                  </a:lnTo>
                  <a:lnTo>
                    <a:pt x="158673" y="512445"/>
                  </a:lnTo>
                  <a:lnTo>
                    <a:pt x="141414" y="513651"/>
                  </a:lnTo>
                  <a:lnTo>
                    <a:pt x="125869" y="521233"/>
                  </a:lnTo>
                  <a:lnTo>
                    <a:pt x="114007" y="534682"/>
                  </a:lnTo>
                  <a:lnTo>
                    <a:pt x="108305" y="551662"/>
                  </a:lnTo>
                  <a:lnTo>
                    <a:pt x="109499" y="568921"/>
                  </a:lnTo>
                  <a:lnTo>
                    <a:pt x="117094" y="584479"/>
                  </a:lnTo>
                  <a:lnTo>
                    <a:pt x="130530" y="596328"/>
                  </a:lnTo>
                  <a:lnTo>
                    <a:pt x="147523" y="602043"/>
                  </a:lnTo>
                  <a:lnTo>
                    <a:pt x="164782" y="600837"/>
                  </a:lnTo>
                  <a:lnTo>
                    <a:pt x="180327" y="593255"/>
                  </a:lnTo>
                  <a:lnTo>
                    <a:pt x="192189" y="579818"/>
                  </a:lnTo>
                  <a:lnTo>
                    <a:pt x="197904" y="562825"/>
                  </a:lnTo>
                  <a:close/>
                </a:path>
                <a:path w="602615" h="602615">
                  <a:moveTo>
                    <a:pt x="197904" y="39217"/>
                  </a:moveTo>
                  <a:lnTo>
                    <a:pt x="192189" y="22225"/>
                  </a:lnTo>
                  <a:lnTo>
                    <a:pt x="180327" y="8788"/>
                  </a:lnTo>
                  <a:lnTo>
                    <a:pt x="164782" y="1206"/>
                  </a:lnTo>
                  <a:lnTo>
                    <a:pt x="147523" y="0"/>
                  </a:lnTo>
                  <a:lnTo>
                    <a:pt x="130530" y="5702"/>
                  </a:lnTo>
                  <a:lnTo>
                    <a:pt x="117094" y="17564"/>
                  </a:lnTo>
                  <a:lnTo>
                    <a:pt x="109499" y="33121"/>
                  </a:lnTo>
                  <a:lnTo>
                    <a:pt x="108305" y="50380"/>
                  </a:lnTo>
                  <a:lnTo>
                    <a:pt x="114007" y="67373"/>
                  </a:lnTo>
                  <a:lnTo>
                    <a:pt x="125869" y="80810"/>
                  </a:lnTo>
                  <a:lnTo>
                    <a:pt x="141414" y="88392"/>
                  </a:lnTo>
                  <a:lnTo>
                    <a:pt x="158673" y="89598"/>
                  </a:lnTo>
                  <a:lnTo>
                    <a:pt x="175666" y="83883"/>
                  </a:lnTo>
                  <a:lnTo>
                    <a:pt x="189103" y="72034"/>
                  </a:lnTo>
                  <a:lnTo>
                    <a:pt x="196697" y="56476"/>
                  </a:lnTo>
                  <a:lnTo>
                    <a:pt x="197904" y="39217"/>
                  </a:lnTo>
                  <a:close/>
                </a:path>
                <a:path w="602615" h="602615">
                  <a:moveTo>
                    <a:pt x="214071" y="421830"/>
                  </a:moveTo>
                  <a:lnTo>
                    <a:pt x="211594" y="409092"/>
                  </a:lnTo>
                  <a:lnTo>
                    <a:pt x="204152" y="397891"/>
                  </a:lnTo>
                  <a:lnTo>
                    <a:pt x="192963" y="390461"/>
                  </a:lnTo>
                  <a:lnTo>
                    <a:pt x="180225" y="387985"/>
                  </a:lnTo>
                  <a:lnTo>
                    <a:pt x="167487" y="390461"/>
                  </a:lnTo>
                  <a:lnTo>
                    <a:pt x="156286" y="397891"/>
                  </a:lnTo>
                  <a:lnTo>
                    <a:pt x="148844" y="409092"/>
                  </a:lnTo>
                  <a:lnTo>
                    <a:pt x="146367" y="421830"/>
                  </a:lnTo>
                  <a:lnTo>
                    <a:pt x="148844" y="434568"/>
                  </a:lnTo>
                  <a:lnTo>
                    <a:pt x="156286" y="445770"/>
                  </a:lnTo>
                  <a:lnTo>
                    <a:pt x="167487" y="453199"/>
                  </a:lnTo>
                  <a:lnTo>
                    <a:pt x="180225" y="455688"/>
                  </a:lnTo>
                  <a:lnTo>
                    <a:pt x="192963" y="453199"/>
                  </a:lnTo>
                  <a:lnTo>
                    <a:pt x="204152" y="445770"/>
                  </a:lnTo>
                  <a:lnTo>
                    <a:pt x="211594" y="434568"/>
                  </a:lnTo>
                  <a:lnTo>
                    <a:pt x="214071" y="421830"/>
                  </a:lnTo>
                  <a:close/>
                </a:path>
                <a:path w="602615" h="602615">
                  <a:moveTo>
                    <a:pt x="214071" y="180213"/>
                  </a:moveTo>
                  <a:lnTo>
                    <a:pt x="211594" y="167474"/>
                  </a:lnTo>
                  <a:lnTo>
                    <a:pt x="204152" y="156273"/>
                  </a:lnTo>
                  <a:lnTo>
                    <a:pt x="192963" y="148844"/>
                  </a:lnTo>
                  <a:lnTo>
                    <a:pt x="180225" y="146367"/>
                  </a:lnTo>
                  <a:lnTo>
                    <a:pt x="167487" y="148844"/>
                  </a:lnTo>
                  <a:lnTo>
                    <a:pt x="156286" y="156273"/>
                  </a:lnTo>
                  <a:lnTo>
                    <a:pt x="148844" y="167474"/>
                  </a:lnTo>
                  <a:lnTo>
                    <a:pt x="146367" y="180213"/>
                  </a:lnTo>
                  <a:lnTo>
                    <a:pt x="148844" y="192951"/>
                  </a:lnTo>
                  <a:lnTo>
                    <a:pt x="156286" y="204152"/>
                  </a:lnTo>
                  <a:lnTo>
                    <a:pt x="167487" y="211594"/>
                  </a:lnTo>
                  <a:lnTo>
                    <a:pt x="180225" y="214071"/>
                  </a:lnTo>
                  <a:lnTo>
                    <a:pt x="192963" y="211594"/>
                  </a:lnTo>
                  <a:lnTo>
                    <a:pt x="204152" y="204152"/>
                  </a:lnTo>
                  <a:lnTo>
                    <a:pt x="211594" y="192951"/>
                  </a:lnTo>
                  <a:lnTo>
                    <a:pt x="214071" y="180213"/>
                  </a:lnTo>
                  <a:close/>
                </a:path>
                <a:path w="602615" h="602615">
                  <a:moveTo>
                    <a:pt x="257619" y="334454"/>
                  </a:moveTo>
                  <a:lnTo>
                    <a:pt x="255270" y="327444"/>
                  </a:lnTo>
                  <a:lnTo>
                    <a:pt x="250367" y="321894"/>
                  </a:lnTo>
                  <a:lnTo>
                    <a:pt x="243954" y="318770"/>
                  </a:lnTo>
                  <a:lnTo>
                    <a:pt x="236842" y="318274"/>
                  </a:lnTo>
                  <a:lnTo>
                    <a:pt x="229831" y="320624"/>
                  </a:lnTo>
                  <a:lnTo>
                    <a:pt x="224282" y="325513"/>
                  </a:lnTo>
                  <a:lnTo>
                    <a:pt x="221157" y="331927"/>
                  </a:lnTo>
                  <a:lnTo>
                    <a:pt x="220662" y="339051"/>
                  </a:lnTo>
                  <a:lnTo>
                    <a:pt x="223012" y="346062"/>
                  </a:lnTo>
                  <a:lnTo>
                    <a:pt x="227901" y="351612"/>
                  </a:lnTo>
                  <a:lnTo>
                    <a:pt x="234327" y="354736"/>
                  </a:lnTo>
                  <a:lnTo>
                    <a:pt x="241439" y="355231"/>
                  </a:lnTo>
                  <a:lnTo>
                    <a:pt x="248450" y="352882"/>
                  </a:lnTo>
                  <a:lnTo>
                    <a:pt x="253987" y="347992"/>
                  </a:lnTo>
                  <a:lnTo>
                    <a:pt x="257124" y="341566"/>
                  </a:lnTo>
                  <a:lnTo>
                    <a:pt x="257619" y="334454"/>
                  </a:lnTo>
                  <a:close/>
                </a:path>
                <a:path w="602615" h="602615">
                  <a:moveTo>
                    <a:pt x="257619" y="267589"/>
                  </a:moveTo>
                  <a:lnTo>
                    <a:pt x="257124" y="260464"/>
                  </a:lnTo>
                  <a:lnTo>
                    <a:pt x="253987" y="254050"/>
                  </a:lnTo>
                  <a:lnTo>
                    <a:pt x="248450" y="249161"/>
                  </a:lnTo>
                  <a:lnTo>
                    <a:pt x="241439" y="246811"/>
                  </a:lnTo>
                  <a:lnTo>
                    <a:pt x="234327" y="247307"/>
                  </a:lnTo>
                  <a:lnTo>
                    <a:pt x="227901" y="250431"/>
                  </a:lnTo>
                  <a:lnTo>
                    <a:pt x="223012" y="255981"/>
                  </a:lnTo>
                  <a:lnTo>
                    <a:pt x="220662" y="262991"/>
                  </a:lnTo>
                  <a:lnTo>
                    <a:pt x="221157" y="270103"/>
                  </a:lnTo>
                  <a:lnTo>
                    <a:pt x="224294" y="276529"/>
                  </a:lnTo>
                  <a:lnTo>
                    <a:pt x="229831" y="281419"/>
                  </a:lnTo>
                  <a:lnTo>
                    <a:pt x="236842" y="283768"/>
                  </a:lnTo>
                  <a:lnTo>
                    <a:pt x="243954" y="283273"/>
                  </a:lnTo>
                  <a:lnTo>
                    <a:pt x="250367" y="280136"/>
                  </a:lnTo>
                  <a:lnTo>
                    <a:pt x="255270" y="274599"/>
                  </a:lnTo>
                  <a:lnTo>
                    <a:pt x="257619" y="267589"/>
                  </a:lnTo>
                  <a:close/>
                </a:path>
                <a:path w="602615" h="602615">
                  <a:moveTo>
                    <a:pt x="319646" y="372491"/>
                  </a:moveTo>
                  <a:lnTo>
                    <a:pt x="318185" y="365239"/>
                  </a:lnTo>
                  <a:lnTo>
                    <a:pt x="314198" y="359321"/>
                  </a:lnTo>
                  <a:lnTo>
                    <a:pt x="308279" y="355333"/>
                  </a:lnTo>
                  <a:lnTo>
                    <a:pt x="301028" y="353872"/>
                  </a:lnTo>
                  <a:lnTo>
                    <a:pt x="293776" y="355333"/>
                  </a:lnTo>
                  <a:lnTo>
                    <a:pt x="287858" y="359321"/>
                  </a:lnTo>
                  <a:lnTo>
                    <a:pt x="283870" y="365239"/>
                  </a:lnTo>
                  <a:lnTo>
                    <a:pt x="282409" y="372491"/>
                  </a:lnTo>
                  <a:lnTo>
                    <a:pt x="283870" y="379730"/>
                  </a:lnTo>
                  <a:lnTo>
                    <a:pt x="287858" y="385648"/>
                  </a:lnTo>
                  <a:lnTo>
                    <a:pt x="293776" y="389636"/>
                  </a:lnTo>
                  <a:lnTo>
                    <a:pt x="301028" y="391096"/>
                  </a:lnTo>
                  <a:lnTo>
                    <a:pt x="308279" y="389636"/>
                  </a:lnTo>
                  <a:lnTo>
                    <a:pt x="314198" y="385648"/>
                  </a:lnTo>
                  <a:lnTo>
                    <a:pt x="318185" y="379730"/>
                  </a:lnTo>
                  <a:lnTo>
                    <a:pt x="319646" y="372491"/>
                  </a:lnTo>
                  <a:close/>
                </a:path>
                <a:path w="602615" h="602615">
                  <a:moveTo>
                    <a:pt x="319646" y="229552"/>
                  </a:moveTo>
                  <a:lnTo>
                    <a:pt x="318185" y="222313"/>
                  </a:lnTo>
                  <a:lnTo>
                    <a:pt x="314198" y="216395"/>
                  </a:lnTo>
                  <a:lnTo>
                    <a:pt x="308279" y="212407"/>
                  </a:lnTo>
                  <a:lnTo>
                    <a:pt x="301028" y="210934"/>
                  </a:lnTo>
                  <a:lnTo>
                    <a:pt x="293789" y="212407"/>
                  </a:lnTo>
                  <a:lnTo>
                    <a:pt x="287870" y="216395"/>
                  </a:lnTo>
                  <a:lnTo>
                    <a:pt x="283870" y="222313"/>
                  </a:lnTo>
                  <a:lnTo>
                    <a:pt x="282409" y="229552"/>
                  </a:lnTo>
                  <a:lnTo>
                    <a:pt x="283870" y="236804"/>
                  </a:lnTo>
                  <a:lnTo>
                    <a:pt x="287870" y="242722"/>
                  </a:lnTo>
                  <a:lnTo>
                    <a:pt x="293789" y="246710"/>
                  </a:lnTo>
                  <a:lnTo>
                    <a:pt x="301028" y="248170"/>
                  </a:lnTo>
                  <a:lnTo>
                    <a:pt x="308279" y="246710"/>
                  </a:lnTo>
                  <a:lnTo>
                    <a:pt x="314198" y="242722"/>
                  </a:lnTo>
                  <a:lnTo>
                    <a:pt x="318185" y="236804"/>
                  </a:lnTo>
                  <a:lnTo>
                    <a:pt x="319646" y="229552"/>
                  </a:lnTo>
                  <a:close/>
                </a:path>
                <a:path w="602615" h="602615">
                  <a:moveTo>
                    <a:pt x="381393" y="339051"/>
                  </a:moveTo>
                  <a:lnTo>
                    <a:pt x="380898" y="331939"/>
                  </a:lnTo>
                  <a:lnTo>
                    <a:pt x="377774" y="325513"/>
                  </a:lnTo>
                  <a:lnTo>
                    <a:pt x="372224" y="320624"/>
                  </a:lnTo>
                  <a:lnTo>
                    <a:pt x="365226" y="318274"/>
                  </a:lnTo>
                  <a:lnTo>
                    <a:pt x="358101" y="318770"/>
                  </a:lnTo>
                  <a:lnTo>
                    <a:pt x="351688" y="321906"/>
                  </a:lnTo>
                  <a:lnTo>
                    <a:pt x="346798" y="327444"/>
                  </a:lnTo>
                  <a:lnTo>
                    <a:pt x="344436" y="334454"/>
                  </a:lnTo>
                  <a:lnTo>
                    <a:pt x="344932" y="341579"/>
                  </a:lnTo>
                  <a:lnTo>
                    <a:pt x="348068" y="347992"/>
                  </a:lnTo>
                  <a:lnTo>
                    <a:pt x="353606" y="352882"/>
                  </a:lnTo>
                  <a:lnTo>
                    <a:pt x="360616" y="355231"/>
                  </a:lnTo>
                  <a:lnTo>
                    <a:pt x="367741" y="354736"/>
                  </a:lnTo>
                  <a:lnTo>
                    <a:pt x="374154" y="351612"/>
                  </a:lnTo>
                  <a:lnTo>
                    <a:pt x="379044" y="346062"/>
                  </a:lnTo>
                  <a:lnTo>
                    <a:pt x="381393" y="339051"/>
                  </a:lnTo>
                  <a:close/>
                </a:path>
                <a:path w="602615" h="602615">
                  <a:moveTo>
                    <a:pt x="381406" y="262991"/>
                  </a:moveTo>
                  <a:lnTo>
                    <a:pt x="379044" y="255981"/>
                  </a:lnTo>
                  <a:lnTo>
                    <a:pt x="374154" y="250431"/>
                  </a:lnTo>
                  <a:lnTo>
                    <a:pt x="367741" y="247307"/>
                  </a:lnTo>
                  <a:lnTo>
                    <a:pt x="360616" y="246811"/>
                  </a:lnTo>
                  <a:lnTo>
                    <a:pt x="353606" y="249161"/>
                  </a:lnTo>
                  <a:lnTo>
                    <a:pt x="348068" y="254050"/>
                  </a:lnTo>
                  <a:lnTo>
                    <a:pt x="344932" y="260464"/>
                  </a:lnTo>
                  <a:lnTo>
                    <a:pt x="344436" y="267589"/>
                  </a:lnTo>
                  <a:lnTo>
                    <a:pt x="346798" y="274599"/>
                  </a:lnTo>
                  <a:lnTo>
                    <a:pt x="351688" y="280149"/>
                  </a:lnTo>
                  <a:lnTo>
                    <a:pt x="358101" y="283273"/>
                  </a:lnTo>
                  <a:lnTo>
                    <a:pt x="365226" y="283768"/>
                  </a:lnTo>
                  <a:lnTo>
                    <a:pt x="372224" y="281406"/>
                  </a:lnTo>
                  <a:lnTo>
                    <a:pt x="377774" y="276517"/>
                  </a:lnTo>
                  <a:lnTo>
                    <a:pt x="380898" y="270103"/>
                  </a:lnTo>
                  <a:lnTo>
                    <a:pt x="381406" y="262991"/>
                  </a:lnTo>
                  <a:close/>
                </a:path>
                <a:path w="602615" h="602615">
                  <a:moveTo>
                    <a:pt x="455688" y="421830"/>
                  </a:moveTo>
                  <a:lnTo>
                    <a:pt x="453212" y="409092"/>
                  </a:lnTo>
                  <a:lnTo>
                    <a:pt x="445770" y="397891"/>
                  </a:lnTo>
                  <a:lnTo>
                    <a:pt x="434581" y="390448"/>
                  </a:lnTo>
                  <a:lnTo>
                    <a:pt x="421830" y="387972"/>
                  </a:lnTo>
                  <a:lnTo>
                    <a:pt x="409092" y="390448"/>
                  </a:lnTo>
                  <a:lnTo>
                    <a:pt x="397903" y="397891"/>
                  </a:lnTo>
                  <a:lnTo>
                    <a:pt x="390461" y="409092"/>
                  </a:lnTo>
                  <a:lnTo>
                    <a:pt x="387985" y="421830"/>
                  </a:lnTo>
                  <a:lnTo>
                    <a:pt x="390461" y="434568"/>
                  </a:lnTo>
                  <a:lnTo>
                    <a:pt x="397903" y="445770"/>
                  </a:lnTo>
                  <a:lnTo>
                    <a:pt x="409092" y="453199"/>
                  </a:lnTo>
                  <a:lnTo>
                    <a:pt x="421830" y="455676"/>
                  </a:lnTo>
                  <a:lnTo>
                    <a:pt x="434581" y="453199"/>
                  </a:lnTo>
                  <a:lnTo>
                    <a:pt x="445770" y="445770"/>
                  </a:lnTo>
                  <a:lnTo>
                    <a:pt x="453212" y="434568"/>
                  </a:lnTo>
                  <a:lnTo>
                    <a:pt x="455688" y="421830"/>
                  </a:lnTo>
                  <a:close/>
                </a:path>
                <a:path w="602615" h="602615">
                  <a:moveTo>
                    <a:pt x="455688" y="180213"/>
                  </a:moveTo>
                  <a:lnTo>
                    <a:pt x="453199" y="167474"/>
                  </a:lnTo>
                  <a:lnTo>
                    <a:pt x="445770" y="156273"/>
                  </a:lnTo>
                  <a:lnTo>
                    <a:pt x="434581" y="148844"/>
                  </a:lnTo>
                  <a:lnTo>
                    <a:pt x="421830" y="146354"/>
                  </a:lnTo>
                  <a:lnTo>
                    <a:pt x="409092" y="148844"/>
                  </a:lnTo>
                  <a:lnTo>
                    <a:pt x="397903" y="156273"/>
                  </a:lnTo>
                  <a:lnTo>
                    <a:pt x="390461" y="167474"/>
                  </a:lnTo>
                  <a:lnTo>
                    <a:pt x="387985" y="180213"/>
                  </a:lnTo>
                  <a:lnTo>
                    <a:pt x="390461" y="192951"/>
                  </a:lnTo>
                  <a:lnTo>
                    <a:pt x="397903" y="204152"/>
                  </a:lnTo>
                  <a:lnTo>
                    <a:pt x="409092" y="211582"/>
                  </a:lnTo>
                  <a:lnTo>
                    <a:pt x="421830" y="214058"/>
                  </a:lnTo>
                  <a:lnTo>
                    <a:pt x="434581" y="211582"/>
                  </a:lnTo>
                  <a:lnTo>
                    <a:pt x="445770" y="204152"/>
                  </a:lnTo>
                  <a:lnTo>
                    <a:pt x="453199" y="192951"/>
                  </a:lnTo>
                  <a:lnTo>
                    <a:pt x="455688" y="180213"/>
                  </a:lnTo>
                  <a:close/>
                </a:path>
                <a:path w="602615" h="602615">
                  <a:moveTo>
                    <a:pt x="493763" y="551662"/>
                  </a:moveTo>
                  <a:lnTo>
                    <a:pt x="488048" y="534670"/>
                  </a:lnTo>
                  <a:lnTo>
                    <a:pt x="476199" y="521233"/>
                  </a:lnTo>
                  <a:lnTo>
                    <a:pt x="460641" y="513651"/>
                  </a:lnTo>
                  <a:lnTo>
                    <a:pt x="443382" y="512445"/>
                  </a:lnTo>
                  <a:lnTo>
                    <a:pt x="426389" y="518160"/>
                  </a:lnTo>
                  <a:lnTo>
                    <a:pt x="412953" y="530009"/>
                  </a:lnTo>
                  <a:lnTo>
                    <a:pt x="405358" y="545566"/>
                  </a:lnTo>
                  <a:lnTo>
                    <a:pt x="404164" y="562825"/>
                  </a:lnTo>
                  <a:lnTo>
                    <a:pt x="409867" y="579805"/>
                  </a:lnTo>
                  <a:lnTo>
                    <a:pt x="421728" y="593255"/>
                  </a:lnTo>
                  <a:lnTo>
                    <a:pt x="437273" y="600837"/>
                  </a:lnTo>
                  <a:lnTo>
                    <a:pt x="454533" y="602043"/>
                  </a:lnTo>
                  <a:lnTo>
                    <a:pt x="471525" y="596341"/>
                  </a:lnTo>
                  <a:lnTo>
                    <a:pt x="484962" y="584479"/>
                  </a:lnTo>
                  <a:lnTo>
                    <a:pt x="492556" y="568921"/>
                  </a:lnTo>
                  <a:lnTo>
                    <a:pt x="493763" y="551662"/>
                  </a:lnTo>
                  <a:close/>
                </a:path>
                <a:path w="602615" h="602615">
                  <a:moveTo>
                    <a:pt x="493763" y="50380"/>
                  </a:moveTo>
                  <a:lnTo>
                    <a:pt x="492556" y="33108"/>
                  </a:lnTo>
                  <a:lnTo>
                    <a:pt x="484962" y="17564"/>
                  </a:lnTo>
                  <a:lnTo>
                    <a:pt x="471525" y="5715"/>
                  </a:lnTo>
                  <a:lnTo>
                    <a:pt x="454533" y="0"/>
                  </a:lnTo>
                  <a:lnTo>
                    <a:pt x="437273" y="1193"/>
                  </a:lnTo>
                  <a:lnTo>
                    <a:pt x="421728" y="8788"/>
                  </a:lnTo>
                  <a:lnTo>
                    <a:pt x="409867" y="22225"/>
                  </a:lnTo>
                  <a:lnTo>
                    <a:pt x="404164" y="39217"/>
                  </a:lnTo>
                  <a:lnTo>
                    <a:pt x="405358" y="56476"/>
                  </a:lnTo>
                  <a:lnTo>
                    <a:pt x="412953" y="72034"/>
                  </a:lnTo>
                  <a:lnTo>
                    <a:pt x="426389" y="83883"/>
                  </a:lnTo>
                  <a:lnTo>
                    <a:pt x="443382" y="89598"/>
                  </a:lnTo>
                  <a:lnTo>
                    <a:pt x="460641" y="88392"/>
                  </a:lnTo>
                  <a:lnTo>
                    <a:pt x="476199" y="80810"/>
                  </a:lnTo>
                  <a:lnTo>
                    <a:pt x="488048" y="67360"/>
                  </a:lnTo>
                  <a:lnTo>
                    <a:pt x="493763" y="50380"/>
                  </a:lnTo>
                  <a:close/>
                </a:path>
                <a:path w="602615" h="602615">
                  <a:moveTo>
                    <a:pt x="602056" y="454520"/>
                  </a:moveTo>
                  <a:lnTo>
                    <a:pt x="600849" y="437261"/>
                  </a:lnTo>
                  <a:lnTo>
                    <a:pt x="593267" y="421716"/>
                  </a:lnTo>
                  <a:lnTo>
                    <a:pt x="579831" y="409867"/>
                  </a:lnTo>
                  <a:lnTo>
                    <a:pt x="562838" y="404152"/>
                  </a:lnTo>
                  <a:lnTo>
                    <a:pt x="545579" y="405358"/>
                  </a:lnTo>
                  <a:lnTo>
                    <a:pt x="530021" y="412940"/>
                  </a:lnTo>
                  <a:lnTo>
                    <a:pt x="518160" y="426389"/>
                  </a:lnTo>
                  <a:lnTo>
                    <a:pt x="512445" y="443369"/>
                  </a:lnTo>
                  <a:lnTo>
                    <a:pt x="513651" y="460641"/>
                  </a:lnTo>
                  <a:lnTo>
                    <a:pt x="521246" y="476186"/>
                  </a:lnTo>
                  <a:lnTo>
                    <a:pt x="534682" y="488035"/>
                  </a:lnTo>
                  <a:lnTo>
                    <a:pt x="551675" y="493750"/>
                  </a:lnTo>
                  <a:lnTo>
                    <a:pt x="568934" y="492544"/>
                  </a:lnTo>
                  <a:lnTo>
                    <a:pt x="584479" y="484962"/>
                  </a:lnTo>
                  <a:lnTo>
                    <a:pt x="596341" y="471512"/>
                  </a:lnTo>
                  <a:lnTo>
                    <a:pt x="602056" y="454520"/>
                  </a:lnTo>
                  <a:close/>
                </a:path>
                <a:path w="602615" h="602615">
                  <a:moveTo>
                    <a:pt x="602056" y="147510"/>
                  </a:moveTo>
                  <a:lnTo>
                    <a:pt x="596341" y="130530"/>
                  </a:lnTo>
                  <a:lnTo>
                    <a:pt x="584479" y="117081"/>
                  </a:lnTo>
                  <a:lnTo>
                    <a:pt x="568934" y="109499"/>
                  </a:lnTo>
                  <a:lnTo>
                    <a:pt x="551675" y="108292"/>
                  </a:lnTo>
                  <a:lnTo>
                    <a:pt x="534682" y="114007"/>
                  </a:lnTo>
                  <a:lnTo>
                    <a:pt x="521246" y="125857"/>
                  </a:lnTo>
                  <a:lnTo>
                    <a:pt x="513651" y="141401"/>
                  </a:lnTo>
                  <a:lnTo>
                    <a:pt x="512457" y="158661"/>
                  </a:lnTo>
                  <a:lnTo>
                    <a:pt x="518172" y="175653"/>
                  </a:lnTo>
                  <a:lnTo>
                    <a:pt x="530021" y="189103"/>
                  </a:lnTo>
                  <a:lnTo>
                    <a:pt x="545566" y="196684"/>
                  </a:lnTo>
                  <a:lnTo>
                    <a:pt x="562825" y="197891"/>
                  </a:lnTo>
                  <a:lnTo>
                    <a:pt x="579818" y="192176"/>
                  </a:lnTo>
                  <a:lnTo>
                    <a:pt x="593267" y="180327"/>
                  </a:lnTo>
                  <a:lnTo>
                    <a:pt x="600849" y="164769"/>
                  </a:lnTo>
                  <a:lnTo>
                    <a:pt x="602056" y="14751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object 15">
              <a:extLst>
                <a:ext uri="{FF2B5EF4-FFF2-40B4-BE49-F238E27FC236}">
                  <a16:creationId xmlns:a16="http://schemas.microsoft.com/office/drawing/2014/main" id="{E32592D8-DDE9-89FB-6EDC-251AB2A7609F}"/>
                </a:ext>
              </a:extLst>
            </p:cNvPr>
            <p:cNvSpPr txBox="1"/>
            <p:nvPr userDrawn="1"/>
          </p:nvSpPr>
          <p:spPr>
            <a:xfrm>
              <a:off x="2273810" y="5911769"/>
              <a:ext cx="1094501" cy="304447"/>
            </a:xfrm>
            <a:prstGeom prst="rect">
              <a:avLst/>
            </a:prstGeom>
          </p:spPr>
          <p:txBody>
            <a:bodyPr vert="horz" wrap="square" lIns="0" tIns="21948" rIns="0" bIns="0" rtlCol="0">
              <a:spAutoFit/>
            </a:bodyPr>
            <a:lstStyle/>
            <a:p>
              <a:pPr marL="7701" marR="3081" defTabSz="554492">
                <a:lnSpc>
                  <a:spcPct val="90000"/>
                </a:lnSpc>
                <a:spcBef>
                  <a:spcPts val="172"/>
                </a:spcBef>
              </a:pPr>
              <a:r>
                <a:rPr lang="en-GB" sz="1400" kern="0" dirty="0">
                  <a:solidFill>
                    <a:srgbClr val="DBFF51"/>
                  </a:solidFill>
                  <a:latin typeface="UKCEH Suisse" panose="020B0504000000000000" pitchFamily="34" charset="-78"/>
                  <a:cs typeface="UKCEH Suisse" panose="020B0504000000000000" pitchFamily="34" charset="-78"/>
                </a:rPr>
                <a:t>Our planet. Decoded</a:t>
              </a:r>
              <a:r>
                <a:rPr sz="1400" kern="0" spc="-6" dirty="0">
                  <a:solidFill>
                    <a:srgbClr val="DBFF51"/>
                  </a:solidFill>
                  <a:latin typeface="UKCEH Suisse" panose="020B0504000000000000" pitchFamily="34" charset="-78"/>
                  <a:cs typeface="UKCEH Suisse" panose="020B0504000000000000" pitchFamily="34" charset="-78"/>
                </a:rPr>
                <a:t>.</a:t>
              </a:r>
              <a:endParaRPr sz="1400" kern="0" dirty="0">
                <a:solidFill>
                  <a:sysClr val="windowText" lastClr="000000"/>
                </a:solidFill>
                <a:latin typeface="UKCEH Suisse" panose="020B0504000000000000" pitchFamily="34" charset="-78"/>
                <a:cs typeface="UKCEH Suisse" panose="020B0504000000000000" pitchFamily="34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6070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53F0DE9-6E35-36A4-6D01-CA96336D5BC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sX0" fmla="*/ 539046 w 12192000"/>
              <a:gd name="csY0" fmla="*/ 2428875 h 6858000"/>
              <a:gd name="csX1" fmla="*/ 431800 w 12192000"/>
              <a:gd name="csY1" fmla="*/ 2536121 h 6858000"/>
              <a:gd name="csX2" fmla="*/ 431800 w 12192000"/>
              <a:gd name="csY2" fmla="*/ 6347392 h 6858000"/>
              <a:gd name="csX3" fmla="*/ 539046 w 12192000"/>
              <a:gd name="csY3" fmla="*/ 6454638 h 6858000"/>
              <a:gd name="csX4" fmla="*/ 9173280 w 12192000"/>
              <a:gd name="csY4" fmla="*/ 6454638 h 6858000"/>
              <a:gd name="csX5" fmla="*/ 9280526 w 12192000"/>
              <a:gd name="csY5" fmla="*/ 6347392 h 6858000"/>
              <a:gd name="csX6" fmla="*/ 9280526 w 12192000"/>
              <a:gd name="csY6" fmla="*/ 2536121 h 6858000"/>
              <a:gd name="csX7" fmla="*/ 9173280 w 12192000"/>
              <a:gd name="csY7" fmla="*/ 2428875 h 6858000"/>
              <a:gd name="csX8" fmla="*/ 0 w 12192000"/>
              <a:gd name="csY8" fmla="*/ 0 h 6858000"/>
              <a:gd name="csX9" fmla="*/ 12192000 w 12192000"/>
              <a:gd name="csY9" fmla="*/ 0 h 6858000"/>
              <a:gd name="csX10" fmla="*/ 12192000 w 12192000"/>
              <a:gd name="csY10" fmla="*/ 6858000 h 6858000"/>
              <a:gd name="csX11" fmla="*/ 0 w 12192000"/>
              <a:gd name="csY11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2192000" h="6858000">
                <a:moveTo>
                  <a:pt x="539046" y="2428875"/>
                </a:moveTo>
                <a:cubicBezTo>
                  <a:pt x="479816" y="2428875"/>
                  <a:pt x="431800" y="2476891"/>
                  <a:pt x="431800" y="2536121"/>
                </a:cubicBezTo>
                <a:lnTo>
                  <a:pt x="431800" y="6347392"/>
                </a:lnTo>
                <a:cubicBezTo>
                  <a:pt x="431800" y="6406622"/>
                  <a:pt x="479816" y="6454638"/>
                  <a:pt x="539046" y="6454638"/>
                </a:cubicBezTo>
                <a:lnTo>
                  <a:pt x="9173280" y="6454638"/>
                </a:lnTo>
                <a:cubicBezTo>
                  <a:pt x="9232510" y="6454638"/>
                  <a:pt x="9280526" y="6406622"/>
                  <a:pt x="9280526" y="6347392"/>
                </a:cubicBezTo>
                <a:lnTo>
                  <a:pt x="9280526" y="2536121"/>
                </a:lnTo>
                <a:cubicBezTo>
                  <a:pt x="9280526" y="2476891"/>
                  <a:pt x="9232510" y="2428875"/>
                  <a:pt x="9173280" y="2428875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</p:spPr>
        <p:txBody>
          <a:bodyPr wrap="square">
            <a:noAutofit/>
          </a:bodyPr>
          <a:lstStyle>
            <a:lvl1pPr algn="l">
              <a:spcBef>
                <a:spcPts val="0"/>
              </a:spcBef>
              <a:defRPr sz="1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   This is a custom shape image placeholder. </a:t>
            </a:r>
            <a:br>
              <a:rPr lang="en-US" dirty="0"/>
            </a:br>
            <a:r>
              <a:rPr lang="en-US" dirty="0"/>
              <a:t>   Browse to image, paste image or drag and drop. </a:t>
            </a:r>
            <a:br>
              <a:rPr lang="en-US" dirty="0"/>
            </a:br>
            <a:r>
              <a:rPr lang="en-US" dirty="0"/>
              <a:t>   Reset slide to reset shape.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2670597-6755-37E6-5611-30798D4E11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812" y="2762251"/>
            <a:ext cx="8140699" cy="1518086"/>
          </a:xfrm>
        </p:spPr>
        <p:txBody>
          <a:bodyPr/>
          <a:lstStyle>
            <a:lvl1pPr>
              <a:lnSpc>
                <a:spcPct val="72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</a:t>
            </a:r>
            <a:br>
              <a:rPr lang="en-US" dirty="0"/>
            </a:br>
            <a:r>
              <a:rPr lang="en-US" dirty="0"/>
              <a:t>styl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1EA995AA-43C4-455F-70A2-AAD27EA097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6763" y="4760914"/>
            <a:ext cx="5329237" cy="944796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400" spc="-8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800" spc="-40" baseline="0"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Presentation subtitle goes here over two lines if required.</a:t>
            </a:r>
          </a:p>
        </p:txBody>
      </p:sp>
      <p:sp>
        <p:nvSpPr>
          <p:cNvPr id="6" name="Text Placeholder 44">
            <a:extLst>
              <a:ext uri="{FF2B5EF4-FFF2-40B4-BE49-F238E27FC236}">
                <a16:creationId xmlns:a16="http://schemas.microsoft.com/office/drawing/2014/main" id="{2BE112C2-7135-E7AA-96CD-00247DF94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6762" y="5695792"/>
            <a:ext cx="5329237" cy="43361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2000" spc="-40" baseline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buNone/>
              <a:defRPr sz="1200" cap="all" spc="30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3B75748-74B3-1BD5-4726-0F046B2022A3}"/>
              </a:ext>
            </a:extLst>
          </p:cNvPr>
          <p:cNvCxnSpPr/>
          <p:nvPr userDrawn="1"/>
        </p:nvCxnSpPr>
        <p:spPr>
          <a:xfrm>
            <a:off x="752300" y="4520625"/>
            <a:ext cx="81407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4726BA1-FA6F-6D12-8ADC-C30F775413D7}"/>
              </a:ext>
            </a:extLst>
          </p:cNvPr>
          <p:cNvGrpSpPr/>
          <p:nvPr userDrawn="1"/>
        </p:nvGrpSpPr>
        <p:grpSpPr>
          <a:xfrm>
            <a:off x="6441163" y="5754822"/>
            <a:ext cx="2451837" cy="413565"/>
            <a:chOff x="6346893" y="5867946"/>
            <a:chExt cx="2451837" cy="413565"/>
          </a:xfrm>
        </p:grpSpPr>
        <p:sp>
          <p:nvSpPr>
            <p:cNvPr id="16" name="object 8">
              <a:extLst>
                <a:ext uri="{FF2B5EF4-FFF2-40B4-BE49-F238E27FC236}">
                  <a16:creationId xmlns:a16="http://schemas.microsoft.com/office/drawing/2014/main" id="{1E5400A1-6698-AE69-A145-A0525BC418BC}"/>
                </a:ext>
              </a:extLst>
            </p:cNvPr>
            <p:cNvSpPr/>
            <p:nvPr/>
          </p:nvSpPr>
          <p:spPr>
            <a:xfrm>
              <a:off x="6828645" y="5947946"/>
              <a:ext cx="1083187" cy="251832"/>
            </a:xfrm>
            <a:custGeom>
              <a:avLst/>
              <a:gdLst/>
              <a:ahLst/>
              <a:cxnLst/>
              <a:rect l="l" t="t" r="r" b="b"/>
              <a:pathLst>
                <a:path w="1786255" h="415290">
                  <a:moveTo>
                    <a:pt x="56364" y="7183"/>
                  </a:moveTo>
                  <a:lnTo>
                    <a:pt x="0" y="7183"/>
                  </a:lnTo>
                  <a:lnTo>
                    <a:pt x="0" y="244840"/>
                  </a:lnTo>
                  <a:lnTo>
                    <a:pt x="4116" y="300816"/>
                  </a:lnTo>
                  <a:lnTo>
                    <a:pt x="16721" y="344480"/>
                  </a:lnTo>
                  <a:lnTo>
                    <a:pt x="38200" y="376784"/>
                  </a:lnTo>
                  <a:lnTo>
                    <a:pt x="109316" y="411120"/>
                  </a:lnTo>
                  <a:lnTo>
                    <a:pt x="159722" y="415055"/>
                  </a:lnTo>
                  <a:lnTo>
                    <a:pt x="212167" y="410254"/>
                  </a:lnTo>
                  <a:lnTo>
                    <a:pt x="253389" y="395812"/>
                  </a:lnTo>
                  <a:lnTo>
                    <a:pt x="284141" y="371668"/>
                  </a:lnTo>
                  <a:lnTo>
                    <a:pt x="287398" y="366418"/>
                  </a:lnTo>
                  <a:lnTo>
                    <a:pt x="159722" y="366418"/>
                  </a:lnTo>
                  <a:lnTo>
                    <a:pt x="111865" y="359484"/>
                  </a:lnTo>
                  <a:lnTo>
                    <a:pt x="79858" y="338302"/>
                  </a:lnTo>
                  <a:lnTo>
                    <a:pt x="61945" y="302299"/>
                  </a:lnTo>
                  <a:lnTo>
                    <a:pt x="56364" y="250903"/>
                  </a:lnTo>
                  <a:lnTo>
                    <a:pt x="56364" y="7183"/>
                  </a:lnTo>
                  <a:close/>
                </a:path>
                <a:path w="1786255" h="415290">
                  <a:moveTo>
                    <a:pt x="321100" y="7183"/>
                  </a:moveTo>
                  <a:lnTo>
                    <a:pt x="264724" y="7183"/>
                  </a:lnTo>
                  <a:lnTo>
                    <a:pt x="264724" y="244840"/>
                  </a:lnTo>
                  <a:lnTo>
                    <a:pt x="259120" y="297170"/>
                  </a:lnTo>
                  <a:lnTo>
                    <a:pt x="241029" y="335259"/>
                  </a:lnTo>
                  <a:lnTo>
                    <a:pt x="208535" y="358532"/>
                  </a:lnTo>
                  <a:lnTo>
                    <a:pt x="159722" y="366418"/>
                  </a:lnTo>
                  <a:lnTo>
                    <a:pt x="287398" y="366418"/>
                  </a:lnTo>
                  <a:lnTo>
                    <a:pt x="305175" y="337760"/>
                  </a:lnTo>
                  <a:lnTo>
                    <a:pt x="317244" y="294028"/>
                  </a:lnTo>
                  <a:lnTo>
                    <a:pt x="321100" y="240411"/>
                  </a:lnTo>
                  <a:lnTo>
                    <a:pt x="321100" y="7183"/>
                  </a:lnTo>
                  <a:close/>
                </a:path>
                <a:path w="1786255" h="415290">
                  <a:moveTo>
                    <a:pt x="449860" y="7183"/>
                  </a:moveTo>
                  <a:lnTo>
                    <a:pt x="393485" y="7183"/>
                  </a:lnTo>
                  <a:lnTo>
                    <a:pt x="393485" y="407861"/>
                  </a:lnTo>
                  <a:lnTo>
                    <a:pt x="449860" y="407861"/>
                  </a:lnTo>
                  <a:lnTo>
                    <a:pt x="449860" y="281855"/>
                  </a:lnTo>
                  <a:lnTo>
                    <a:pt x="512863" y="212223"/>
                  </a:lnTo>
                  <a:lnTo>
                    <a:pt x="580177" y="212223"/>
                  </a:lnTo>
                  <a:lnTo>
                    <a:pt x="577840" y="208904"/>
                  </a:lnTo>
                  <a:lnTo>
                    <a:pt x="449860" y="208904"/>
                  </a:lnTo>
                  <a:lnTo>
                    <a:pt x="449860" y="7183"/>
                  </a:lnTo>
                  <a:close/>
                </a:path>
                <a:path w="1786255" h="415290">
                  <a:moveTo>
                    <a:pt x="580177" y="212223"/>
                  </a:moveTo>
                  <a:lnTo>
                    <a:pt x="512863" y="212223"/>
                  </a:lnTo>
                  <a:lnTo>
                    <a:pt x="650482" y="407861"/>
                  </a:lnTo>
                  <a:lnTo>
                    <a:pt x="717915" y="407861"/>
                  </a:lnTo>
                  <a:lnTo>
                    <a:pt x="580177" y="212223"/>
                  </a:lnTo>
                  <a:close/>
                </a:path>
                <a:path w="1786255" h="415290">
                  <a:moveTo>
                    <a:pt x="700784" y="7183"/>
                  </a:moveTo>
                  <a:lnTo>
                    <a:pt x="630588" y="7183"/>
                  </a:lnTo>
                  <a:lnTo>
                    <a:pt x="449860" y="208904"/>
                  </a:lnTo>
                  <a:lnTo>
                    <a:pt x="577840" y="208904"/>
                  </a:lnTo>
                  <a:lnTo>
                    <a:pt x="550998" y="170780"/>
                  </a:lnTo>
                  <a:lnTo>
                    <a:pt x="700784" y="7183"/>
                  </a:lnTo>
                  <a:close/>
                </a:path>
                <a:path w="1786255" h="415290">
                  <a:moveTo>
                    <a:pt x="906359" y="0"/>
                  </a:moveTo>
                  <a:lnTo>
                    <a:pt x="860544" y="4952"/>
                  </a:lnTo>
                  <a:lnTo>
                    <a:pt x="820133" y="19321"/>
                  </a:lnTo>
                  <a:lnTo>
                    <a:pt x="785725" y="42372"/>
                  </a:lnTo>
                  <a:lnTo>
                    <a:pt x="757919" y="73369"/>
                  </a:lnTo>
                  <a:lnTo>
                    <a:pt x="737316" y="111579"/>
                  </a:lnTo>
                  <a:lnTo>
                    <a:pt x="724514" y="156265"/>
                  </a:lnTo>
                  <a:lnTo>
                    <a:pt x="720114" y="206695"/>
                  </a:lnTo>
                  <a:lnTo>
                    <a:pt x="724153" y="256521"/>
                  </a:lnTo>
                  <a:lnTo>
                    <a:pt x="736051" y="301175"/>
                  </a:lnTo>
                  <a:lnTo>
                    <a:pt x="755481" y="339748"/>
                  </a:lnTo>
                  <a:lnTo>
                    <a:pt x="782113" y="371332"/>
                  </a:lnTo>
                  <a:lnTo>
                    <a:pt x="815619" y="395016"/>
                  </a:lnTo>
                  <a:lnTo>
                    <a:pt x="855671" y="409894"/>
                  </a:lnTo>
                  <a:lnTo>
                    <a:pt x="901941" y="415055"/>
                  </a:lnTo>
                  <a:lnTo>
                    <a:pt x="951607" y="409519"/>
                  </a:lnTo>
                  <a:lnTo>
                    <a:pt x="995412" y="393053"/>
                  </a:lnTo>
                  <a:lnTo>
                    <a:pt x="1029522" y="367528"/>
                  </a:lnTo>
                  <a:lnTo>
                    <a:pt x="905249" y="367528"/>
                  </a:lnTo>
                  <a:lnTo>
                    <a:pt x="863324" y="360564"/>
                  </a:lnTo>
                  <a:lnTo>
                    <a:pt x="828083" y="340202"/>
                  </a:lnTo>
                  <a:lnTo>
                    <a:pt x="801039" y="307239"/>
                  </a:lnTo>
                  <a:lnTo>
                    <a:pt x="783703" y="262472"/>
                  </a:lnTo>
                  <a:lnTo>
                    <a:pt x="777588" y="206695"/>
                  </a:lnTo>
                  <a:lnTo>
                    <a:pt x="783902" y="150243"/>
                  </a:lnTo>
                  <a:lnTo>
                    <a:pt x="801569" y="105782"/>
                  </a:lnTo>
                  <a:lnTo>
                    <a:pt x="828680" y="73630"/>
                  </a:lnTo>
                  <a:lnTo>
                    <a:pt x="863326" y="54106"/>
                  </a:lnTo>
                  <a:lnTo>
                    <a:pt x="903595" y="47527"/>
                  </a:lnTo>
                  <a:lnTo>
                    <a:pt x="1027140" y="47527"/>
                  </a:lnTo>
                  <a:lnTo>
                    <a:pt x="995829" y="22797"/>
                  </a:lnTo>
                  <a:lnTo>
                    <a:pt x="953853" y="5801"/>
                  </a:lnTo>
                  <a:lnTo>
                    <a:pt x="906359" y="0"/>
                  </a:lnTo>
                  <a:close/>
                </a:path>
                <a:path w="1786255" h="415290">
                  <a:moveTo>
                    <a:pt x="1075475" y="280200"/>
                  </a:moveTo>
                  <a:lnTo>
                    <a:pt x="1020754" y="280200"/>
                  </a:lnTo>
                  <a:lnTo>
                    <a:pt x="1006364" y="315526"/>
                  </a:lnTo>
                  <a:lnTo>
                    <a:pt x="982281" y="343136"/>
                  </a:lnTo>
                  <a:lnTo>
                    <a:pt x="948559" y="361110"/>
                  </a:lnTo>
                  <a:lnTo>
                    <a:pt x="905249" y="367528"/>
                  </a:lnTo>
                  <a:lnTo>
                    <a:pt x="1029522" y="367528"/>
                  </a:lnTo>
                  <a:lnTo>
                    <a:pt x="1031738" y="365869"/>
                  </a:lnTo>
                  <a:lnTo>
                    <a:pt x="1058965" y="328181"/>
                  </a:lnTo>
                  <a:lnTo>
                    <a:pt x="1075475" y="280200"/>
                  </a:lnTo>
                  <a:close/>
                </a:path>
                <a:path w="1786255" h="415290">
                  <a:moveTo>
                    <a:pt x="1027140" y="47527"/>
                  </a:moveTo>
                  <a:lnTo>
                    <a:pt x="903595" y="47527"/>
                  </a:lnTo>
                  <a:lnTo>
                    <a:pt x="946750" y="54106"/>
                  </a:lnTo>
                  <a:lnTo>
                    <a:pt x="980553" y="72330"/>
                  </a:lnTo>
                  <a:lnTo>
                    <a:pt x="1004627" y="99988"/>
                  </a:lnTo>
                  <a:lnTo>
                    <a:pt x="1018544" y="134844"/>
                  </a:lnTo>
                  <a:lnTo>
                    <a:pt x="1073265" y="134844"/>
                  </a:lnTo>
                  <a:lnTo>
                    <a:pt x="1057074" y="87929"/>
                  </a:lnTo>
                  <a:lnTo>
                    <a:pt x="1030749" y="50377"/>
                  </a:lnTo>
                  <a:lnTo>
                    <a:pt x="1027140" y="47527"/>
                  </a:lnTo>
                  <a:close/>
                </a:path>
                <a:path w="1786255" h="415290">
                  <a:moveTo>
                    <a:pt x="1401548" y="7183"/>
                  </a:moveTo>
                  <a:lnTo>
                    <a:pt x="1129640" y="7183"/>
                  </a:lnTo>
                  <a:lnTo>
                    <a:pt x="1129640" y="407861"/>
                  </a:lnTo>
                  <a:lnTo>
                    <a:pt x="1401548" y="407861"/>
                  </a:lnTo>
                  <a:lnTo>
                    <a:pt x="1401548" y="359235"/>
                  </a:lnTo>
                  <a:lnTo>
                    <a:pt x="1186005" y="359235"/>
                  </a:lnTo>
                  <a:lnTo>
                    <a:pt x="1186005" y="226035"/>
                  </a:lnTo>
                  <a:lnTo>
                    <a:pt x="1388837" y="226035"/>
                  </a:lnTo>
                  <a:lnTo>
                    <a:pt x="1388837" y="177408"/>
                  </a:lnTo>
                  <a:lnTo>
                    <a:pt x="1186005" y="177408"/>
                  </a:lnTo>
                  <a:lnTo>
                    <a:pt x="1186005" y="55820"/>
                  </a:lnTo>
                  <a:lnTo>
                    <a:pt x="1401548" y="55820"/>
                  </a:lnTo>
                  <a:lnTo>
                    <a:pt x="1401548" y="7183"/>
                  </a:lnTo>
                  <a:close/>
                </a:path>
                <a:path w="1786255" h="415290">
                  <a:moveTo>
                    <a:pt x="1519262" y="7183"/>
                  </a:moveTo>
                  <a:lnTo>
                    <a:pt x="1462887" y="7183"/>
                  </a:lnTo>
                  <a:lnTo>
                    <a:pt x="1462887" y="407861"/>
                  </a:lnTo>
                  <a:lnTo>
                    <a:pt x="1519262" y="407861"/>
                  </a:lnTo>
                  <a:lnTo>
                    <a:pt x="1519262" y="226035"/>
                  </a:lnTo>
                  <a:lnTo>
                    <a:pt x="1786196" y="226035"/>
                  </a:lnTo>
                  <a:lnTo>
                    <a:pt x="1786196" y="177408"/>
                  </a:lnTo>
                  <a:lnTo>
                    <a:pt x="1519262" y="177408"/>
                  </a:lnTo>
                  <a:lnTo>
                    <a:pt x="1519262" y="7183"/>
                  </a:lnTo>
                  <a:close/>
                </a:path>
                <a:path w="1786255" h="415290">
                  <a:moveTo>
                    <a:pt x="1786196" y="226035"/>
                  </a:moveTo>
                  <a:lnTo>
                    <a:pt x="1729832" y="226035"/>
                  </a:lnTo>
                  <a:lnTo>
                    <a:pt x="1729832" y="407861"/>
                  </a:lnTo>
                  <a:lnTo>
                    <a:pt x="1786196" y="407861"/>
                  </a:lnTo>
                  <a:lnTo>
                    <a:pt x="1786196" y="226035"/>
                  </a:lnTo>
                  <a:close/>
                </a:path>
                <a:path w="1786255" h="415290">
                  <a:moveTo>
                    <a:pt x="1786196" y="7183"/>
                  </a:moveTo>
                  <a:lnTo>
                    <a:pt x="1729832" y="7183"/>
                  </a:lnTo>
                  <a:lnTo>
                    <a:pt x="1729832" y="177408"/>
                  </a:lnTo>
                  <a:lnTo>
                    <a:pt x="1786196" y="177408"/>
                  </a:lnTo>
                  <a:lnTo>
                    <a:pt x="1786196" y="718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7" name="object 9">
              <a:extLst>
                <a:ext uri="{FF2B5EF4-FFF2-40B4-BE49-F238E27FC236}">
                  <a16:creationId xmlns:a16="http://schemas.microsoft.com/office/drawing/2014/main" id="{CCC023B5-BFAE-0FCC-308D-7AC2BA692189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526307" y="5867946"/>
              <a:ext cx="54739" cy="54745"/>
            </a:xfrm>
            <a:prstGeom prst="rect">
              <a:avLst/>
            </a:prstGeom>
          </p:spPr>
        </p:pic>
        <p:pic>
          <p:nvPicPr>
            <p:cNvPr id="18" name="object 10">
              <a:extLst>
                <a:ext uri="{FF2B5EF4-FFF2-40B4-BE49-F238E27FC236}">
                  <a16:creationId xmlns:a16="http://schemas.microsoft.com/office/drawing/2014/main" id="{3DF6C9EA-67CB-70DB-57F0-7AC61D9FACFA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526307" y="6226766"/>
              <a:ext cx="54739" cy="54745"/>
            </a:xfrm>
            <a:prstGeom prst="rect">
              <a:avLst/>
            </a:prstGeom>
          </p:spPr>
        </p:pic>
        <p:sp>
          <p:nvSpPr>
            <p:cNvPr id="19" name="object 11">
              <a:extLst>
                <a:ext uri="{FF2B5EF4-FFF2-40B4-BE49-F238E27FC236}">
                  <a16:creationId xmlns:a16="http://schemas.microsoft.com/office/drawing/2014/main" id="{BE6E6EA1-53C0-8B17-BF0F-BFFB10C41AAB}"/>
                </a:ext>
              </a:extLst>
            </p:cNvPr>
            <p:cNvSpPr/>
            <p:nvPr/>
          </p:nvSpPr>
          <p:spPr>
            <a:xfrm>
              <a:off x="6371129" y="5892193"/>
              <a:ext cx="365426" cy="365426"/>
            </a:xfrm>
            <a:custGeom>
              <a:avLst/>
              <a:gdLst/>
              <a:ahLst/>
              <a:cxnLst/>
              <a:rect l="l" t="t" r="r" b="b"/>
              <a:pathLst>
                <a:path w="602615" h="602615">
                  <a:moveTo>
                    <a:pt x="89611" y="158661"/>
                  </a:moveTo>
                  <a:lnTo>
                    <a:pt x="88404" y="141401"/>
                  </a:lnTo>
                  <a:lnTo>
                    <a:pt x="80810" y="125857"/>
                  </a:lnTo>
                  <a:lnTo>
                    <a:pt x="67373" y="114007"/>
                  </a:lnTo>
                  <a:lnTo>
                    <a:pt x="50380" y="108292"/>
                  </a:lnTo>
                  <a:lnTo>
                    <a:pt x="33121" y="109499"/>
                  </a:lnTo>
                  <a:lnTo>
                    <a:pt x="17576" y="117081"/>
                  </a:lnTo>
                  <a:lnTo>
                    <a:pt x="5715" y="130530"/>
                  </a:lnTo>
                  <a:lnTo>
                    <a:pt x="0" y="147510"/>
                  </a:lnTo>
                  <a:lnTo>
                    <a:pt x="1206" y="164782"/>
                  </a:lnTo>
                  <a:lnTo>
                    <a:pt x="8801" y="180327"/>
                  </a:lnTo>
                  <a:lnTo>
                    <a:pt x="22237" y="192176"/>
                  </a:lnTo>
                  <a:lnTo>
                    <a:pt x="39217" y="197891"/>
                  </a:lnTo>
                  <a:lnTo>
                    <a:pt x="56489" y="196684"/>
                  </a:lnTo>
                  <a:lnTo>
                    <a:pt x="72034" y="189103"/>
                  </a:lnTo>
                  <a:lnTo>
                    <a:pt x="83896" y="175653"/>
                  </a:lnTo>
                  <a:lnTo>
                    <a:pt x="89611" y="158661"/>
                  </a:lnTo>
                  <a:close/>
                </a:path>
                <a:path w="602615" h="602615">
                  <a:moveTo>
                    <a:pt x="197904" y="39217"/>
                  </a:moveTo>
                  <a:lnTo>
                    <a:pt x="192189" y="22225"/>
                  </a:lnTo>
                  <a:lnTo>
                    <a:pt x="180327" y="8788"/>
                  </a:lnTo>
                  <a:lnTo>
                    <a:pt x="164782" y="1206"/>
                  </a:lnTo>
                  <a:lnTo>
                    <a:pt x="147523" y="0"/>
                  </a:lnTo>
                  <a:lnTo>
                    <a:pt x="130530" y="5702"/>
                  </a:lnTo>
                  <a:lnTo>
                    <a:pt x="117094" y="17564"/>
                  </a:lnTo>
                  <a:lnTo>
                    <a:pt x="109499" y="33121"/>
                  </a:lnTo>
                  <a:lnTo>
                    <a:pt x="108305" y="50380"/>
                  </a:lnTo>
                  <a:lnTo>
                    <a:pt x="114007" y="67373"/>
                  </a:lnTo>
                  <a:lnTo>
                    <a:pt x="125869" y="80810"/>
                  </a:lnTo>
                  <a:lnTo>
                    <a:pt x="141414" y="88392"/>
                  </a:lnTo>
                  <a:lnTo>
                    <a:pt x="158673" y="89598"/>
                  </a:lnTo>
                  <a:lnTo>
                    <a:pt x="175666" y="83883"/>
                  </a:lnTo>
                  <a:lnTo>
                    <a:pt x="189103" y="72034"/>
                  </a:lnTo>
                  <a:lnTo>
                    <a:pt x="196697" y="56476"/>
                  </a:lnTo>
                  <a:lnTo>
                    <a:pt x="197904" y="39217"/>
                  </a:lnTo>
                  <a:close/>
                </a:path>
                <a:path w="602615" h="602615">
                  <a:moveTo>
                    <a:pt x="493763" y="551662"/>
                  </a:moveTo>
                  <a:lnTo>
                    <a:pt x="488048" y="534670"/>
                  </a:lnTo>
                  <a:lnTo>
                    <a:pt x="476199" y="521233"/>
                  </a:lnTo>
                  <a:lnTo>
                    <a:pt x="460641" y="513651"/>
                  </a:lnTo>
                  <a:lnTo>
                    <a:pt x="443382" y="512445"/>
                  </a:lnTo>
                  <a:lnTo>
                    <a:pt x="426389" y="518160"/>
                  </a:lnTo>
                  <a:lnTo>
                    <a:pt x="412953" y="530009"/>
                  </a:lnTo>
                  <a:lnTo>
                    <a:pt x="405358" y="545566"/>
                  </a:lnTo>
                  <a:lnTo>
                    <a:pt x="404164" y="562825"/>
                  </a:lnTo>
                  <a:lnTo>
                    <a:pt x="409867" y="579805"/>
                  </a:lnTo>
                  <a:lnTo>
                    <a:pt x="421728" y="593255"/>
                  </a:lnTo>
                  <a:lnTo>
                    <a:pt x="437273" y="600837"/>
                  </a:lnTo>
                  <a:lnTo>
                    <a:pt x="454533" y="602043"/>
                  </a:lnTo>
                  <a:lnTo>
                    <a:pt x="471525" y="596341"/>
                  </a:lnTo>
                  <a:lnTo>
                    <a:pt x="484962" y="584479"/>
                  </a:lnTo>
                  <a:lnTo>
                    <a:pt x="492556" y="568921"/>
                  </a:lnTo>
                  <a:lnTo>
                    <a:pt x="493763" y="551662"/>
                  </a:lnTo>
                  <a:close/>
                </a:path>
                <a:path w="602615" h="602615">
                  <a:moveTo>
                    <a:pt x="602056" y="454520"/>
                  </a:moveTo>
                  <a:lnTo>
                    <a:pt x="600849" y="437261"/>
                  </a:lnTo>
                  <a:lnTo>
                    <a:pt x="593267" y="421716"/>
                  </a:lnTo>
                  <a:lnTo>
                    <a:pt x="579818" y="409867"/>
                  </a:lnTo>
                  <a:lnTo>
                    <a:pt x="562838" y="404152"/>
                  </a:lnTo>
                  <a:lnTo>
                    <a:pt x="545566" y="405358"/>
                  </a:lnTo>
                  <a:lnTo>
                    <a:pt x="530021" y="412940"/>
                  </a:lnTo>
                  <a:lnTo>
                    <a:pt x="518160" y="426389"/>
                  </a:lnTo>
                  <a:lnTo>
                    <a:pt x="512445" y="443369"/>
                  </a:lnTo>
                  <a:lnTo>
                    <a:pt x="513651" y="460641"/>
                  </a:lnTo>
                  <a:lnTo>
                    <a:pt x="521246" y="476186"/>
                  </a:lnTo>
                  <a:lnTo>
                    <a:pt x="534682" y="488035"/>
                  </a:lnTo>
                  <a:lnTo>
                    <a:pt x="551675" y="493750"/>
                  </a:lnTo>
                  <a:lnTo>
                    <a:pt x="568934" y="492544"/>
                  </a:lnTo>
                  <a:lnTo>
                    <a:pt x="584479" y="484962"/>
                  </a:lnTo>
                  <a:lnTo>
                    <a:pt x="596341" y="471512"/>
                  </a:lnTo>
                  <a:lnTo>
                    <a:pt x="602056" y="45452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0" name="object 12">
              <a:extLst>
                <a:ext uri="{FF2B5EF4-FFF2-40B4-BE49-F238E27FC236}">
                  <a16:creationId xmlns:a16="http://schemas.microsoft.com/office/drawing/2014/main" id="{080A8AD1-86D2-469A-1E76-B11B422B284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346893" y="6047359"/>
              <a:ext cx="54745" cy="54739"/>
            </a:xfrm>
            <a:prstGeom prst="rect">
              <a:avLst/>
            </a:prstGeom>
          </p:spPr>
        </p:pic>
        <p:pic>
          <p:nvPicPr>
            <p:cNvPr id="21" name="object 13">
              <a:extLst>
                <a:ext uri="{FF2B5EF4-FFF2-40B4-BE49-F238E27FC236}">
                  <a16:creationId xmlns:a16="http://schemas.microsoft.com/office/drawing/2014/main" id="{E3E358F4-6D31-6A05-D6A1-6378A0E7EAFF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705714" y="6047359"/>
              <a:ext cx="54745" cy="54739"/>
            </a:xfrm>
            <a:prstGeom prst="rect">
              <a:avLst/>
            </a:prstGeom>
          </p:spPr>
        </p:pic>
        <p:sp>
          <p:nvSpPr>
            <p:cNvPr id="22" name="object 14">
              <a:extLst>
                <a:ext uri="{FF2B5EF4-FFF2-40B4-BE49-F238E27FC236}">
                  <a16:creationId xmlns:a16="http://schemas.microsoft.com/office/drawing/2014/main" id="{1A1EC3BF-4898-155E-DC2E-3270233F5432}"/>
                </a:ext>
              </a:extLst>
            </p:cNvPr>
            <p:cNvSpPr/>
            <p:nvPr/>
          </p:nvSpPr>
          <p:spPr>
            <a:xfrm>
              <a:off x="6371129" y="5892193"/>
              <a:ext cx="365426" cy="365426"/>
            </a:xfrm>
            <a:custGeom>
              <a:avLst/>
              <a:gdLst/>
              <a:ahLst/>
              <a:cxnLst/>
              <a:rect l="l" t="t" r="r" b="b"/>
              <a:pathLst>
                <a:path w="602615" h="602615">
                  <a:moveTo>
                    <a:pt x="89611" y="443382"/>
                  </a:moveTo>
                  <a:lnTo>
                    <a:pt x="83896" y="426389"/>
                  </a:lnTo>
                  <a:lnTo>
                    <a:pt x="72034" y="412940"/>
                  </a:lnTo>
                  <a:lnTo>
                    <a:pt x="56489" y="405358"/>
                  </a:lnTo>
                  <a:lnTo>
                    <a:pt x="39230" y="404152"/>
                  </a:lnTo>
                  <a:lnTo>
                    <a:pt x="22237" y="409867"/>
                  </a:lnTo>
                  <a:lnTo>
                    <a:pt x="8801" y="421716"/>
                  </a:lnTo>
                  <a:lnTo>
                    <a:pt x="1206" y="437261"/>
                  </a:lnTo>
                  <a:lnTo>
                    <a:pt x="0" y="454533"/>
                  </a:lnTo>
                  <a:lnTo>
                    <a:pt x="5715" y="471512"/>
                  </a:lnTo>
                  <a:lnTo>
                    <a:pt x="17576" y="484962"/>
                  </a:lnTo>
                  <a:lnTo>
                    <a:pt x="33121" y="492544"/>
                  </a:lnTo>
                  <a:lnTo>
                    <a:pt x="50393" y="493750"/>
                  </a:lnTo>
                  <a:lnTo>
                    <a:pt x="67373" y="488035"/>
                  </a:lnTo>
                  <a:lnTo>
                    <a:pt x="80810" y="476186"/>
                  </a:lnTo>
                  <a:lnTo>
                    <a:pt x="88404" y="460641"/>
                  </a:lnTo>
                  <a:lnTo>
                    <a:pt x="89611" y="443382"/>
                  </a:lnTo>
                  <a:close/>
                </a:path>
                <a:path w="602615" h="602615">
                  <a:moveTo>
                    <a:pt x="197891" y="562825"/>
                  </a:moveTo>
                  <a:lnTo>
                    <a:pt x="196697" y="545566"/>
                  </a:lnTo>
                  <a:lnTo>
                    <a:pt x="189103" y="530009"/>
                  </a:lnTo>
                  <a:lnTo>
                    <a:pt x="175666" y="518160"/>
                  </a:lnTo>
                  <a:lnTo>
                    <a:pt x="158673" y="512445"/>
                  </a:lnTo>
                  <a:lnTo>
                    <a:pt x="141414" y="513651"/>
                  </a:lnTo>
                  <a:lnTo>
                    <a:pt x="125869" y="521233"/>
                  </a:lnTo>
                  <a:lnTo>
                    <a:pt x="114007" y="534682"/>
                  </a:lnTo>
                  <a:lnTo>
                    <a:pt x="108292" y="551662"/>
                  </a:lnTo>
                  <a:lnTo>
                    <a:pt x="109499" y="568921"/>
                  </a:lnTo>
                  <a:lnTo>
                    <a:pt x="117094" y="584479"/>
                  </a:lnTo>
                  <a:lnTo>
                    <a:pt x="130530" y="596328"/>
                  </a:lnTo>
                  <a:lnTo>
                    <a:pt x="147523" y="602043"/>
                  </a:lnTo>
                  <a:lnTo>
                    <a:pt x="164782" y="600837"/>
                  </a:lnTo>
                  <a:lnTo>
                    <a:pt x="180327" y="593255"/>
                  </a:lnTo>
                  <a:lnTo>
                    <a:pt x="192189" y="579818"/>
                  </a:lnTo>
                  <a:lnTo>
                    <a:pt x="197891" y="562825"/>
                  </a:lnTo>
                  <a:close/>
                </a:path>
                <a:path w="602615" h="602615">
                  <a:moveTo>
                    <a:pt x="493763" y="50380"/>
                  </a:moveTo>
                  <a:lnTo>
                    <a:pt x="492556" y="33108"/>
                  </a:lnTo>
                  <a:lnTo>
                    <a:pt x="484962" y="17564"/>
                  </a:lnTo>
                  <a:lnTo>
                    <a:pt x="471525" y="5715"/>
                  </a:lnTo>
                  <a:lnTo>
                    <a:pt x="454533" y="0"/>
                  </a:lnTo>
                  <a:lnTo>
                    <a:pt x="437273" y="1193"/>
                  </a:lnTo>
                  <a:lnTo>
                    <a:pt x="421728" y="8788"/>
                  </a:lnTo>
                  <a:lnTo>
                    <a:pt x="409867" y="22225"/>
                  </a:lnTo>
                  <a:lnTo>
                    <a:pt x="404164" y="39217"/>
                  </a:lnTo>
                  <a:lnTo>
                    <a:pt x="405358" y="56476"/>
                  </a:lnTo>
                  <a:lnTo>
                    <a:pt x="412953" y="72034"/>
                  </a:lnTo>
                  <a:lnTo>
                    <a:pt x="426389" y="83883"/>
                  </a:lnTo>
                  <a:lnTo>
                    <a:pt x="443382" y="89598"/>
                  </a:lnTo>
                  <a:lnTo>
                    <a:pt x="460641" y="88392"/>
                  </a:lnTo>
                  <a:lnTo>
                    <a:pt x="476186" y="80810"/>
                  </a:lnTo>
                  <a:lnTo>
                    <a:pt x="488048" y="67360"/>
                  </a:lnTo>
                  <a:lnTo>
                    <a:pt x="493763" y="50380"/>
                  </a:lnTo>
                  <a:close/>
                </a:path>
                <a:path w="602615" h="602615">
                  <a:moveTo>
                    <a:pt x="602056" y="147510"/>
                  </a:moveTo>
                  <a:lnTo>
                    <a:pt x="596341" y="130530"/>
                  </a:lnTo>
                  <a:lnTo>
                    <a:pt x="584479" y="117081"/>
                  </a:lnTo>
                  <a:lnTo>
                    <a:pt x="568934" y="109499"/>
                  </a:lnTo>
                  <a:lnTo>
                    <a:pt x="551662" y="108292"/>
                  </a:lnTo>
                  <a:lnTo>
                    <a:pt x="534682" y="114007"/>
                  </a:lnTo>
                  <a:lnTo>
                    <a:pt x="521246" y="125857"/>
                  </a:lnTo>
                  <a:lnTo>
                    <a:pt x="513651" y="141401"/>
                  </a:lnTo>
                  <a:lnTo>
                    <a:pt x="512445" y="158661"/>
                  </a:lnTo>
                  <a:lnTo>
                    <a:pt x="518172" y="175653"/>
                  </a:lnTo>
                  <a:lnTo>
                    <a:pt x="530021" y="189103"/>
                  </a:lnTo>
                  <a:lnTo>
                    <a:pt x="545566" y="196684"/>
                  </a:lnTo>
                  <a:lnTo>
                    <a:pt x="562825" y="197891"/>
                  </a:lnTo>
                  <a:lnTo>
                    <a:pt x="579818" y="192176"/>
                  </a:lnTo>
                  <a:lnTo>
                    <a:pt x="593267" y="180327"/>
                  </a:lnTo>
                  <a:lnTo>
                    <a:pt x="600849" y="164769"/>
                  </a:lnTo>
                  <a:lnTo>
                    <a:pt x="602056" y="14751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3" name="object 15">
              <a:extLst>
                <a:ext uri="{FF2B5EF4-FFF2-40B4-BE49-F238E27FC236}">
                  <a16:creationId xmlns:a16="http://schemas.microsoft.com/office/drawing/2014/main" id="{44FC049C-3F97-D1C5-FAEB-738FCC9B1100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533148" y="5950598"/>
              <a:ext cx="41056" cy="41056"/>
            </a:xfrm>
            <a:prstGeom prst="rect">
              <a:avLst/>
            </a:prstGeom>
          </p:spPr>
        </p:pic>
        <p:pic>
          <p:nvPicPr>
            <p:cNvPr id="24" name="object 16">
              <a:extLst>
                <a:ext uri="{FF2B5EF4-FFF2-40B4-BE49-F238E27FC236}">
                  <a16:creationId xmlns:a16="http://schemas.microsoft.com/office/drawing/2014/main" id="{BC465F88-3242-ABE0-493A-07C1A0A710CE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533149" y="6157802"/>
              <a:ext cx="41056" cy="41056"/>
            </a:xfrm>
            <a:prstGeom prst="rect">
              <a:avLst/>
            </a:prstGeom>
          </p:spPr>
        </p:pic>
        <p:sp>
          <p:nvSpPr>
            <p:cNvPr id="26" name="object 17">
              <a:extLst>
                <a:ext uri="{FF2B5EF4-FFF2-40B4-BE49-F238E27FC236}">
                  <a16:creationId xmlns:a16="http://schemas.microsoft.com/office/drawing/2014/main" id="{5E53AC8B-5A2B-5DAA-257F-717CDA14AF16}"/>
                </a:ext>
              </a:extLst>
            </p:cNvPr>
            <p:cNvSpPr/>
            <p:nvPr/>
          </p:nvSpPr>
          <p:spPr>
            <a:xfrm>
              <a:off x="6459886" y="5980950"/>
              <a:ext cx="187912" cy="187911"/>
            </a:xfrm>
            <a:custGeom>
              <a:avLst/>
              <a:gdLst/>
              <a:ahLst/>
              <a:cxnLst/>
              <a:rect l="l" t="t" r="r" b="b"/>
              <a:pathLst>
                <a:path w="309879" h="309879">
                  <a:moveTo>
                    <a:pt x="67703" y="33845"/>
                  </a:moveTo>
                  <a:lnTo>
                    <a:pt x="65227" y="21107"/>
                  </a:lnTo>
                  <a:lnTo>
                    <a:pt x="57785" y="9906"/>
                  </a:lnTo>
                  <a:lnTo>
                    <a:pt x="46596" y="2476"/>
                  </a:lnTo>
                  <a:lnTo>
                    <a:pt x="33858" y="0"/>
                  </a:lnTo>
                  <a:lnTo>
                    <a:pt x="21107" y="2476"/>
                  </a:lnTo>
                  <a:lnTo>
                    <a:pt x="9918" y="9906"/>
                  </a:lnTo>
                  <a:lnTo>
                    <a:pt x="2476" y="21107"/>
                  </a:lnTo>
                  <a:lnTo>
                    <a:pt x="0" y="33845"/>
                  </a:lnTo>
                  <a:lnTo>
                    <a:pt x="2476" y="46583"/>
                  </a:lnTo>
                  <a:lnTo>
                    <a:pt x="9918" y="57785"/>
                  </a:lnTo>
                  <a:lnTo>
                    <a:pt x="21107" y="65227"/>
                  </a:lnTo>
                  <a:lnTo>
                    <a:pt x="33858" y="67703"/>
                  </a:lnTo>
                  <a:lnTo>
                    <a:pt x="46596" y="65227"/>
                  </a:lnTo>
                  <a:lnTo>
                    <a:pt x="57785" y="57785"/>
                  </a:lnTo>
                  <a:lnTo>
                    <a:pt x="65227" y="46583"/>
                  </a:lnTo>
                  <a:lnTo>
                    <a:pt x="67703" y="33845"/>
                  </a:lnTo>
                  <a:close/>
                </a:path>
                <a:path w="309879" h="309879">
                  <a:moveTo>
                    <a:pt x="309321" y="275463"/>
                  </a:moveTo>
                  <a:lnTo>
                    <a:pt x="306844" y="262724"/>
                  </a:lnTo>
                  <a:lnTo>
                    <a:pt x="299402" y="251523"/>
                  </a:lnTo>
                  <a:lnTo>
                    <a:pt x="288213" y="244081"/>
                  </a:lnTo>
                  <a:lnTo>
                    <a:pt x="275463" y="241604"/>
                  </a:lnTo>
                  <a:lnTo>
                    <a:pt x="262724" y="244081"/>
                  </a:lnTo>
                  <a:lnTo>
                    <a:pt x="251536" y="251523"/>
                  </a:lnTo>
                  <a:lnTo>
                    <a:pt x="244094" y="262724"/>
                  </a:lnTo>
                  <a:lnTo>
                    <a:pt x="241617" y="275463"/>
                  </a:lnTo>
                  <a:lnTo>
                    <a:pt x="244094" y="288201"/>
                  </a:lnTo>
                  <a:lnTo>
                    <a:pt x="251536" y="299402"/>
                  </a:lnTo>
                  <a:lnTo>
                    <a:pt x="262724" y="306832"/>
                  </a:lnTo>
                  <a:lnTo>
                    <a:pt x="275463" y="309308"/>
                  </a:lnTo>
                  <a:lnTo>
                    <a:pt x="288213" y="306832"/>
                  </a:lnTo>
                  <a:lnTo>
                    <a:pt x="299402" y="299402"/>
                  </a:lnTo>
                  <a:lnTo>
                    <a:pt x="306844" y="288201"/>
                  </a:lnTo>
                  <a:lnTo>
                    <a:pt x="309321" y="27546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8" name="object 18">
              <a:extLst>
                <a:ext uri="{FF2B5EF4-FFF2-40B4-BE49-F238E27FC236}">
                  <a16:creationId xmlns:a16="http://schemas.microsoft.com/office/drawing/2014/main" id="{00B861EB-387D-C893-C0CF-26ADC39D6ADE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429547" y="6054201"/>
              <a:ext cx="41056" cy="41056"/>
            </a:xfrm>
            <a:prstGeom prst="rect">
              <a:avLst/>
            </a:prstGeom>
          </p:spPr>
        </p:pic>
        <p:pic>
          <p:nvPicPr>
            <p:cNvPr id="29" name="object 19">
              <a:extLst>
                <a:ext uri="{FF2B5EF4-FFF2-40B4-BE49-F238E27FC236}">
                  <a16:creationId xmlns:a16="http://schemas.microsoft.com/office/drawing/2014/main" id="{E5A680C0-152C-1D2C-7F37-E64281518565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636750" y="6054199"/>
              <a:ext cx="41056" cy="41056"/>
            </a:xfrm>
            <a:prstGeom prst="rect">
              <a:avLst/>
            </a:prstGeom>
          </p:spPr>
        </p:pic>
        <p:sp>
          <p:nvSpPr>
            <p:cNvPr id="30" name="object 20">
              <a:extLst>
                <a:ext uri="{FF2B5EF4-FFF2-40B4-BE49-F238E27FC236}">
                  <a16:creationId xmlns:a16="http://schemas.microsoft.com/office/drawing/2014/main" id="{FF23AED8-24BC-A111-8EAE-000C277F9913}"/>
                </a:ext>
              </a:extLst>
            </p:cNvPr>
            <p:cNvSpPr/>
            <p:nvPr/>
          </p:nvSpPr>
          <p:spPr>
            <a:xfrm>
              <a:off x="6459886" y="5980942"/>
              <a:ext cx="187912" cy="187911"/>
            </a:xfrm>
            <a:custGeom>
              <a:avLst/>
              <a:gdLst/>
              <a:ahLst/>
              <a:cxnLst/>
              <a:rect l="l" t="t" r="r" b="b"/>
              <a:pathLst>
                <a:path w="309879" h="309879">
                  <a:moveTo>
                    <a:pt x="67703" y="275475"/>
                  </a:moveTo>
                  <a:lnTo>
                    <a:pt x="65227" y="262737"/>
                  </a:lnTo>
                  <a:lnTo>
                    <a:pt x="57785" y="251536"/>
                  </a:lnTo>
                  <a:lnTo>
                    <a:pt x="46596" y="244106"/>
                  </a:lnTo>
                  <a:lnTo>
                    <a:pt x="33858" y="241630"/>
                  </a:lnTo>
                  <a:lnTo>
                    <a:pt x="21120" y="244106"/>
                  </a:lnTo>
                  <a:lnTo>
                    <a:pt x="9918" y="251536"/>
                  </a:lnTo>
                  <a:lnTo>
                    <a:pt x="2476" y="262737"/>
                  </a:lnTo>
                  <a:lnTo>
                    <a:pt x="0" y="275475"/>
                  </a:lnTo>
                  <a:lnTo>
                    <a:pt x="2476" y="288213"/>
                  </a:lnTo>
                  <a:lnTo>
                    <a:pt x="9918" y="299415"/>
                  </a:lnTo>
                  <a:lnTo>
                    <a:pt x="21120" y="306844"/>
                  </a:lnTo>
                  <a:lnTo>
                    <a:pt x="33858" y="309333"/>
                  </a:lnTo>
                  <a:lnTo>
                    <a:pt x="46596" y="306844"/>
                  </a:lnTo>
                  <a:lnTo>
                    <a:pt x="57785" y="299415"/>
                  </a:lnTo>
                  <a:lnTo>
                    <a:pt x="65227" y="288213"/>
                  </a:lnTo>
                  <a:lnTo>
                    <a:pt x="67703" y="275475"/>
                  </a:lnTo>
                  <a:close/>
                </a:path>
                <a:path w="309879" h="309879">
                  <a:moveTo>
                    <a:pt x="111252" y="188099"/>
                  </a:moveTo>
                  <a:lnTo>
                    <a:pt x="108889" y="181089"/>
                  </a:lnTo>
                  <a:lnTo>
                    <a:pt x="104000" y="175539"/>
                  </a:lnTo>
                  <a:lnTo>
                    <a:pt x="97586" y="172415"/>
                  </a:lnTo>
                  <a:lnTo>
                    <a:pt x="90462" y="171919"/>
                  </a:lnTo>
                  <a:lnTo>
                    <a:pt x="83464" y="174269"/>
                  </a:lnTo>
                  <a:lnTo>
                    <a:pt x="77914" y="179158"/>
                  </a:lnTo>
                  <a:lnTo>
                    <a:pt x="74790" y="185572"/>
                  </a:lnTo>
                  <a:lnTo>
                    <a:pt x="74295" y="192697"/>
                  </a:lnTo>
                  <a:lnTo>
                    <a:pt x="76644" y="199707"/>
                  </a:lnTo>
                  <a:lnTo>
                    <a:pt x="81534" y="205257"/>
                  </a:lnTo>
                  <a:lnTo>
                    <a:pt x="87947" y="208381"/>
                  </a:lnTo>
                  <a:lnTo>
                    <a:pt x="95072" y="208876"/>
                  </a:lnTo>
                  <a:lnTo>
                    <a:pt x="102082" y="206527"/>
                  </a:lnTo>
                  <a:lnTo>
                    <a:pt x="107632" y="201637"/>
                  </a:lnTo>
                  <a:lnTo>
                    <a:pt x="110756" y="195211"/>
                  </a:lnTo>
                  <a:lnTo>
                    <a:pt x="111252" y="188099"/>
                  </a:lnTo>
                  <a:close/>
                </a:path>
                <a:path w="309879" h="309879">
                  <a:moveTo>
                    <a:pt x="111252" y="121234"/>
                  </a:moveTo>
                  <a:lnTo>
                    <a:pt x="110756" y="114109"/>
                  </a:lnTo>
                  <a:lnTo>
                    <a:pt x="107619" y="107696"/>
                  </a:lnTo>
                  <a:lnTo>
                    <a:pt x="102082" y="102806"/>
                  </a:lnTo>
                  <a:lnTo>
                    <a:pt x="95072" y="100457"/>
                  </a:lnTo>
                  <a:lnTo>
                    <a:pt x="87960" y="100952"/>
                  </a:lnTo>
                  <a:lnTo>
                    <a:pt x="81534" y="104076"/>
                  </a:lnTo>
                  <a:lnTo>
                    <a:pt x="76644" y="109626"/>
                  </a:lnTo>
                  <a:lnTo>
                    <a:pt x="74295" y="116636"/>
                  </a:lnTo>
                  <a:lnTo>
                    <a:pt x="74790" y="123748"/>
                  </a:lnTo>
                  <a:lnTo>
                    <a:pt x="77914" y="130175"/>
                  </a:lnTo>
                  <a:lnTo>
                    <a:pt x="83464" y="135064"/>
                  </a:lnTo>
                  <a:lnTo>
                    <a:pt x="90474" y="137414"/>
                  </a:lnTo>
                  <a:lnTo>
                    <a:pt x="97586" y="136918"/>
                  </a:lnTo>
                  <a:lnTo>
                    <a:pt x="104000" y="133781"/>
                  </a:lnTo>
                  <a:lnTo>
                    <a:pt x="108902" y="128244"/>
                  </a:lnTo>
                  <a:lnTo>
                    <a:pt x="111252" y="121234"/>
                  </a:lnTo>
                  <a:close/>
                </a:path>
                <a:path w="309879" h="309879">
                  <a:moveTo>
                    <a:pt x="173278" y="226136"/>
                  </a:moveTo>
                  <a:lnTo>
                    <a:pt x="171818" y="218884"/>
                  </a:lnTo>
                  <a:lnTo>
                    <a:pt x="167830" y="212966"/>
                  </a:lnTo>
                  <a:lnTo>
                    <a:pt x="161912" y="208978"/>
                  </a:lnTo>
                  <a:lnTo>
                    <a:pt x="154660" y="207518"/>
                  </a:lnTo>
                  <a:lnTo>
                    <a:pt x="147408" y="208978"/>
                  </a:lnTo>
                  <a:lnTo>
                    <a:pt x="141490" y="212966"/>
                  </a:lnTo>
                  <a:lnTo>
                    <a:pt x="137502" y="218884"/>
                  </a:lnTo>
                  <a:lnTo>
                    <a:pt x="136042" y="226136"/>
                  </a:lnTo>
                  <a:lnTo>
                    <a:pt x="137502" y="233375"/>
                  </a:lnTo>
                  <a:lnTo>
                    <a:pt x="141490" y="239293"/>
                  </a:lnTo>
                  <a:lnTo>
                    <a:pt x="147408" y="243281"/>
                  </a:lnTo>
                  <a:lnTo>
                    <a:pt x="154660" y="244741"/>
                  </a:lnTo>
                  <a:lnTo>
                    <a:pt x="161912" y="243281"/>
                  </a:lnTo>
                  <a:lnTo>
                    <a:pt x="167830" y="239293"/>
                  </a:lnTo>
                  <a:lnTo>
                    <a:pt x="171818" y="233375"/>
                  </a:lnTo>
                  <a:lnTo>
                    <a:pt x="173278" y="226136"/>
                  </a:lnTo>
                  <a:close/>
                </a:path>
                <a:path w="309879" h="309879">
                  <a:moveTo>
                    <a:pt x="173278" y="83197"/>
                  </a:moveTo>
                  <a:lnTo>
                    <a:pt x="171818" y="75958"/>
                  </a:lnTo>
                  <a:lnTo>
                    <a:pt x="167830" y="70040"/>
                  </a:lnTo>
                  <a:lnTo>
                    <a:pt x="161912" y="66052"/>
                  </a:lnTo>
                  <a:lnTo>
                    <a:pt x="154660" y="64579"/>
                  </a:lnTo>
                  <a:lnTo>
                    <a:pt x="147421" y="66052"/>
                  </a:lnTo>
                  <a:lnTo>
                    <a:pt x="141503" y="70040"/>
                  </a:lnTo>
                  <a:lnTo>
                    <a:pt x="137502" y="75958"/>
                  </a:lnTo>
                  <a:lnTo>
                    <a:pt x="136042" y="83197"/>
                  </a:lnTo>
                  <a:lnTo>
                    <a:pt x="137502" y="90449"/>
                  </a:lnTo>
                  <a:lnTo>
                    <a:pt x="141503" y="96367"/>
                  </a:lnTo>
                  <a:lnTo>
                    <a:pt x="147421" y="100355"/>
                  </a:lnTo>
                  <a:lnTo>
                    <a:pt x="154660" y="101815"/>
                  </a:lnTo>
                  <a:lnTo>
                    <a:pt x="161912" y="100355"/>
                  </a:lnTo>
                  <a:lnTo>
                    <a:pt x="167830" y="96367"/>
                  </a:lnTo>
                  <a:lnTo>
                    <a:pt x="171818" y="90449"/>
                  </a:lnTo>
                  <a:lnTo>
                    <a:pt x="173278" y="83197"/>
                  </a:lnTo>
                  <a:close/>
                </a:path>
                <a:path w="309879" h="309879">
                  <a:moveTo>
                    <a:pt x="235026" y="192697"/>
                  </a:moveTo>
                  <a:lnTo>
                    <a:pt x="234530" y="185585"/>
                  </a:lnTo>
                  <a:lnTo>
                    <a:pt x="231406" y="179158"/>
                  </a:lnTo>
                  <a:lnTo>
                    <a:pt x="225856" y="174269"/>
                  </a:lnTo>
                  <a:lnTo>
                    <a:pt x="218859" y="171919"/>
                  </a:lnTo>
                  <a:lnTo>
                    <a:pt x="211734" y="172415"/>
                  </a:lnTo>
                  <a:lnTo>
                    <a:pt x="205320" y="175552"/>
                  </a:lnTo>
                  <a:lnTo>
                    <a:pt x="200431" y="181089"/>
                  </a:lnTo>
                  <a:lnTo>
                    <a:pt x="198069" y="188099"/>
                  </a:lnTo>
                  <a:lnTo>
                    <a:pt x="198564" y="195224"/>
                  </a:lnTo>
                  <a:lnTo>
                    <a:pt x="201701" y="201637"/>
                  </a:lnTo>
                  <a:lnTo>
                    <a:pt x="207238" y="206527"/>
                  </a:lnTo>
                  <a:lnTo>
                    <a:pt x="214249" y="208876"/>
                  </a:lnTo>
                  <a:lnTo>
                    <a:pt x="221373" y="208381"/>
                  </a:lnTo>
                  <a:lnTo>
                    <a:pt x="227787" y="205257"/>
                  </a:lnTo>
                  <a:lnTo>
                    <a:pt x="232676" y="199707"/>
                  </a:lnTo>
                  <a:lnTo>
                    <a:pt x="235026" y="192697"/>
                  </a:lnTo>
                  <a:close/>
                </a:path>
                <a:path w="309879" h="309879">
                  <a:moveTo>
                    <a:pt x="235026" y="116636"/>
                  </a:moveTo>
                  <a:lnTo>
                    <a:pt x="232676" y="109626"/>
                  </a:lnTo>
                  <a:lnTo>
                    <a:pt x="227787" y="104076"/>
                  </a:lnTo>
                  <a:lnTo>
                    <a:pt x="221373" y="100952"/>
                  </a:lnTo>
                  <a:lnTo>
                    <a:pt x="214249" y="100457"/>
                  </a:lnTo>
                  <a:lnTo>
                    <a:pt x="207238" y="102806"/>
                  </a:lnTo>
                  <a:lnTo>
                    <a:pt x="201701" y="107696"/>
                  </a:lnTo>
                  <a:lnTo>
                    <a:pt x="198564" y="114109"/>
                  </a:lnTo>
                  <a:lnTo>
                    <a:pt x="198069" y="121234"/>
                  </a:lnTo>
                  <a:lnTo>
                    <a:pt x="200431" y="128244"/>
                  </a:lnTo>
                  <a:lnTo>
                    <a:pt x="205320" y="133794"/>
                  </a:lnTo>
                  <a:lnTo>
                    <a:pt x="211734" y="136918"/>
                  </a:lnTo>
                  <a:lnTo>
                    <a:pt x="218859" y="137414"/>
                  </a:lnTo>
                  <a:lnTo>
                    <a:pt x="225856" y="135051"/>
                  </a:lnTo>
                  <a:lnTo>
                    <a:pt x="231406" y="130162"/>
                  </a:lnTo>
                  <a:lnTo>
                    <a:pt x="234530" y="123748"/>
                  </a:lnTo>
                  <a:lnTo>
                    <a:pt x="235026" y="116636"/>
                  </a:lnTo>
                  <a:close/>
                </a:path>
                <a:path w="309879" h="309879">
                  <a:moveTo>
                    <a:pt x="309321" y="33858"/>
                  </a:moveTo>
                  <a:lnTo>
                    <a:pt x="306844" y="21120"/>
                  </a:lnTo>
                  <a:lnTo>
                    <a:pt x="299402" y="9918"/>
                  </a:lnTo>
                  <a:lnTo>
                    <a:pt x="288213" y="2489"/>
                  </a:lnTo>
                  <a:lnTo>
                    <a:pt x="275463" y="0"/>
                  </a:lnTo>
                  <a:lnTo>
                    <a:pt x="262724" y="2489"/>
                  </a:lnTo>
                  <a:lnTo>
                    <a:pt x="251536" y="9918"/>
                  </a:lnTo>
                  <a:lnTo>
                    <a:pt x="244094" y="21120"/>
                  </a:lnTo>
                  <a:lnTo>
                    <a:pt x="241617" y="33858"/>
                  </a:lnTo>
                  <a:lnTo>
                    <a:pt x="244094" y="46596"/>
                  </a:lnTo>
                  <a:lnTo>
                    <a:pt x="251536" y="57797"/>
                  </a:lnTo>
                  <a:lnTo>
                    <a:pt x="262724" y="65227"/>
                  </a:lnTo>
                  <a:lnTo>
                    <a:pt x="275463" y="67703"/>
                  </a:lnTo>
                  <a:lnTo>
                    <a:pt x="288213" y="65227"/>
                  </a:lnTo>
                  <a:lnTo>
                    <a:pt x="299402" y="57797"/>
                  </a:lnTo>
                  <a:lnTo>
                    <a:pt x="306844" y="46596"/>
                  </a:lnTo>
                  <a:lnTo>
                    <a:pt x="309321" y="3385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object 24">
              <a:extLst>
                <a:ext uri="{FF2B5EF4-FFF2-40B4-BE49-F238E27FC236}">
                  <a16:creationId xmlns:a16="http://schemas.microsoft.com/office/drawing/2014/main" id="{CC65025B-11A8-DD96-A362-ACA169EB0C70}"/>
                </a:ext>
              </a:extLst>
            </p:cNvPr>
            <p:cNvSpPr txBox="1"/>
            <p:nvPr/>
          </p:nvSpPr>
          <p:spPr>
            <a:xfrm>
              <a:off x="8125637" y="5911769"/>
              <a:ext cx="673093" cy="304291"/>
            </a:xfrm>
            <a:prstGeom prst="rect">
              <a:avLst/>
            </a:prstGeom>
          </p:spPr>
          <p:txBody>
            <a:bodyPr vert="horz" wrap="square" lIns="0" tIns="21948" rIns="0" bIns="0" rtlCol="0">
              <a:spAutoFit/>
            </a:bodyPr>
            <a:lstStyle/>
            <a:p>
              <a:pPr marL="7701" marR="3081" defTabSz="554492">
                <a:lnSpc>
                  <a:spcPts val="1140"/>
                </a:lnSpc>
                <a:spcBef>
                  <a:spcPts val="172"/>
                </a:spcBef>
              </a:pPr>
              <a:r>
                <a:rPr lang="en-GB" sz="1001" kern="0" dirty="0">
                  <a:solidFill>
                    <a:schemeClr val="tx2"/>
                  </a:solidFill>
                  <a:latin typeface="UKCEH Suisse" panose="020B0504000000000000" pitchFamily="34" charset="-78"/>
                  <a:cs typeface="UKCEH Suisse" panose="020B0504000000000000" pitchFamily="34" charset="-78"/>
                </a:rPr>
                <a:t>Our planet. Decoded</a:t>
              </a:r>
              <a:r>
                <a:rPr sz="1001" kern="0" spc="-6" dirty="0">
                  <a:solidFill>
                    <a:schemeClr val="tx2"/>
                  </a:solidFill>
                  <a:latin typeface="UKCEH Suisse" panose="020B0504000000000000" pitchFamily="34" charset="-78"/>
                  <a:cs typeface="UKCEH Suisse" panose="020B0504000000000000" pitchFamily="34" charset="-78"/>
                </a:rPr>
                <a:t>.</a:t>
              </a:r>
              <a:endParaRPr sz="1001" kern="0" dirty="0">
                <a:solidFill>
                  <a:schemeClr val="tx2"/>
                </a:solidFill>
                <a:latin typeface="UKCEH Suisse" panose="020B0504000000000000" pitchFamily="34" charset="-78"/>
                <a:cs typeface="UKCEH Suisse" panose="020B0504000000000000" pitchFamily="34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53358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ject 11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807669" y="532347"/>
            <a:ext cx="5383896" cy="5719852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EC763B1-4CBB-9747-FBB3-F524D99EF5C8}"/>
              </a:ext>
            </a:extLst>
          </p:cNvPr>
          <p:cNvGrpSpPr/>
          <p:nvPr userDrawn="1"/>
        </p:nvGrpSpPr>
        <p:grpSpPr>
          <a:xfrm>
            <a:off x="143595" y="135785"/>
            <a:ext cx="1089185" cy="288028"/>
            <a:chOff x="143595" y="135785"/>
            <a:chExt cx="1089185" cy="288028"/>
          </a:xfrm>
          <a:solidFill>
            <a:schemeClr val="bg1"/>
          </a:solidFill>
        </p:grpSpPr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11BC098D-8670-1613-A0B1-8B6FCABEC146}"/>
                </a:ext>
              </a:extLst>
            </p:cNvPr>
            <p:cNvSpPr/>
            <p:nvPr userDrawn="1"/>
          </p:nvSpPr>
          <p:spPr>
            <a:xfrm>
              <a:off x="478824" y="191457"/>
              <a:ext cx="753956" cy="175204"/>
            </a:xfrm>
            <a:custGeom>
              <a:avLst/>
              <a:gdLst/>
              <a:ahLst/>
              <a:cxnLst/>
              <a:rect l="l" t="t" r="r" b="b"/>
              <a:pathLst>
                <a:path w="1243330" h="288925">
                  <a:moveTo>
                    <a:pt x="39223" y="4994"/>
                  </a:moveTo>
                  <a:lnTo>
                    <a:pt x="0" y="4994"/>
                  </a:lnTo>
                  <a:lnTo>
                    <a:pt x="0" y="170361"/>
                  </a:lnTo>
                  <a:lnTo>
                    <a:pt x="6495" y="225537"/>
                  </a:lnTo>
                  <a:lnTo>
                    <a:pt x="26582" y="262179"/>
                  </a:lnTo>
                  <a:lnTo>
                    <a:pt x="61163" y="282523"/>
                  </a:lnTo>
                  <a:lnTo>
                    <a:pt x="111137" y="288807"/>
                  </a:lnTo>
                  <a:lnTo>
                    <a:pt x="162919" y="281285"/>
                  </a:lnTo>
                  <a:lnTo>
                    <a:pt x="197719" y="258621"/>
                  </a:lnTo>
                  <a:lnTo>
                    <a:pt x="199605" y="254966"/>
                  </a:lnTo>
                  <a:lnTo>
                    <a:pt x="111137" y="254966"/>
                  </a:lnTo>
                  <a:lnTo>
                    <a:pt x="77840" y="250140"/>
                  </a:lnTo>
                  <a:lnTo>
                    <a:pt x="55571" y="235401"/>
                  </a:lnTo>
                  <a:lnTo>
                    <a:pt x="43106" y="210350"/>
                  </a:lnTo>
                  <a:lnTo>
                    <a:pt x="39223" y="174591"/>
                  </a:lnTo>
                  <a:lnTo>
                    <a:pt x="39223" y="4994"/>
                  </a:lnTo>
                  <a:close/>
                </a:path>
                <a:path w="1243330" h="288925">
                  <a:moveTo>
                    <a:pt x="223438" y="4994"/>
                  </a:moveTo>
                  <a:lnTo>
                    <a:pt x="184214" y="4994"/>
                  </a:lnTo>
                  <a:lnTo>
                    <a:pt x="184214" y="170361"/>
                  </a:lnTo>
                  <a:lnTo>
                    <a:pt x="180314" y="206781"/>
                  </a:lnTo>
                  <a:lnTo>
                    <a:pt x="167725" y="233286"/>
                  </a:lnTo>
                  <a:lnTo>
                    <a:pt x="145111" y="249479"/>
                  </a:lnTo>
                  <a:lnTo>
                    <a:pt x="111137" y="254966"/>
                  </a:lnTo>
                  <a:lnTo>
                    <a:pt x="199605" y="254966"/>
                  </a:lnTo>
                  <a:lnTo>
                    <a:pt x="217302" y="220669"/>
                  </a:lnTo>
                  <a:lnTo>
                    <a:pt x="223438" y="167282"/>
                  </a:lnTo>
                  <a:lnTo>
                    <a:pt x="223438" y="4994"/>
                  </a:lnTo>
                  <a:close/>
                </a:path>
                <a:path w="1243330" h="288925">
                  <a:moveTo>
                    <a:pt x="313037" y="4994"/>
                  </a:moveTo>
                  <a:lnTo>
                    <a:pt x="273813" y="4994"/>
                  </a:lnTo>
                  <a:lnTo>
                    <a:pt x="273813" y="283802"/>
                  </a:lnTo>
                  <a:lnTo>
                    <a:pt x="313037" y="283802"/>
                  </a:lnTo>
                  <a:lnTo>
                    <a:pt x="313037" y="196130"/>
                  </a:lnTo>
                  <a:lnTo>
                    <a:pt x="356879" y="147670"/>
                  </a:lnTo>
                  <a:lnTo>
                    <a:pt x="403714" y="147670"/>
                  </a:lnTo>
                  <a:lnTo>
                    <a:pt x="402092" y="145367"/>
                  </a:lnTo>
                  <a:lnTo>
                    <a:pt x="313037" y="145367"/>
                  </a:lnTo>
                  <a:lnTo>
                    <a:pt x="313037" y="4994"/>
                  </a:lnTo>
                  <a:close/>
                </a:path>
                <a:path w="1243330" h="288925">
                  <a:moveTo>
                    <a:pt x="403714" y="147670"/>
                  </a:moveTo>
                  <a:lnTo>
                    <a:pt x="356879" y="147670"/>
                  </a:lnTo>
                  <a:lnTo>
                    <a:pt x="452635" y="283802"/>
                  </a:lnTo>
                  <a:lnTo>
                    <a:pt x="499555" y="283802"/>
                  </a:lnTo>
                  <a:lnTo>
                    <a:pt x="403714" y="147670"/>
                  </a:lnTo>
                  <a:close/>
                </a:path>
                <a:path w="1243330" h="288925">
                  <a:moveTo>
                    <a:pt x="487639" y="4994"/>
                  </a:moveTo>
                  <a:lnTo>
                    <a:pt x="438792" y="4994"/>
                  </a:lnTo>
                  <a:lnTo>
                    <a:pt x="313037" y="145367"/>
                  </a:lnTo>
                  <a:lnTo>
                    <a:pt x="402092" y="145367"/>
                  </a:lnTo>
                  <a:lnTo>
                    <a:pt x="383412" y="118834"/>
                  </a:lnTo>
                  <a:lnTo>
                    <a:pt x="487639" y="4994"/>
                  </a:lnTo>
                  <a:close/>
                </a:path>
                <a:path w="1243330" h="288925">
                  <a:moveTo>
                    <a:pt x="630692" y="0"/>
                  </a:moveTo>
                  <a:lnTo>
                    <a:pt x="587086" y="6688"/>
                  </a:lnTo>
                  <a:lnTo>
                    <a:pt x="551180" y="25818"/>
                  </a:lnTo>
                  <a:lnTo>
                    <a:pt x="524117" y="55986"/>
                  </a:lnTo>
                  <a:lnTo>
                    <a:pt x="507040" y="95790"/>
                  </a:lnTo>
                  <a:lnTo>
                    <a:pt x="501094" y="143828"/>
                  </a:lnTo>
                  <a:lnTo>
                    <a:pt x="506546" y="191167"/>
                  </a:lnTo>
                  <a:lnTo>
                    <a:pt x="506572" y="191394"/>
                  </a:lnTo>
                  <a:lnTo>
                    <a:pt x="522590" y="231410"/>
                  </a:lnTo>
                  <a:lnTo>
                    <a:pt x="548520" y="262141"/>
                  </a:lnTo>
                  <a:lnTo>
                    <a:pt x="583737" y="281852"/>
                  </a:lnTo>
                  <a:lnTo>
                    <a:pt x="627614" y="288807"/>
                  </a:lnTo>
                  <a:lnTo>
                    <a:pt x="670222" y="282799"/>
                  </a:lnTo>
                  <a:lnTo>
                    <a:pt x="706016" y="264965"/>
                  </a:lnTo>
                  <a:lnTo>
                    <a:pt x="714428" y="255740"/>
                  </a:lnTo>
                  <a:lnTo>
                    <a:pt x="629917" y="255740"/>
                  </a:lnTo>
                  <a:lnTo>
                    <a:pt x="594136" y="248205"/>
                  </a:lnTo>
                  <a:lnTo>
                    <a:pt x="566032" y="226320"/>
                  </a:lnTo>
                  <a:lnTo>
                    <a:pt x="547781" y="191394"/>
                  </a:lnTo>
                  <a:lnTo>
                    <a:pt x="547662" y="191167"/>
                  </a:lnTo>
                  <a:lnTo>
                    <a:pt x="541083" y="143828"/>
                  </a:lnTo>
                  <a:lnTo>
                    <a:pt x="547861" y="96019"/>
                  </a:lnTo>
                  <a:lnTo>
                    <a:pt x="566465" y="61334"/>
                  </a:lnTo>
                  <a:lnTo>
                    <a:pt x="594299" y="40206"/>
                  </a:lnTo>
                  <a:lnTo>
                    <a:pt x="628766" y="33067"/>
                  </a:lnTo>
                  <a:lnTo>
                    <a:pt x="713229" y="33067"/>
                  </a:lnTo>
                  <a:lnTo>
                    <a:pt x="705776" y="24564"/>
                  </a:lnTo>
                  <a:lnTo>
                    <a:pt x="671443" y="6279"/>
                  </a:lnTo>
                  <a:lnTo>
                    <a:pt x="630692" y="0"/>
                  </a:lnTo>
                  <a:close/>
                </a:path>
                <a:path w="1243330" h="288925">
                  <a:moveTo>
                    <a:pt x="748364" y="194978"/>
                  </a:moveTo>
                  <a:lnTo>
                    <a:pt x="710292" y="194978"/>
                  </a:lnTo>
                  <a:lnTo>
                    <a:pt x="700279" y="219557"/>
                  </a:lnTo>
                  <a:lnTo>
                    <a:pt x="683522" y="238768"/>
                  </a:lnTo>
                  <a:lnTo>
                    <a:pt x="660056" y="251275"/>
                  </a:lnTo>
                  <a:lnTo>
                    <a:pt x="629917" y="255740"/>
                  </a:lnTo>
                  <a:lnTo>
                    <a:pt x="714428" y="255740"/>
                  </a:lnTo>
                  <a:lnTo>
                    <a:pt x="732797" y="235595"/>
                  </a:lnTo>
                  <a:lnTo>
                    <a:pt x="748364" y="194978"/>
                  </a:lnTo>
                  <a:close/>
                </a:path>
                <a:path w="1243330" h="288925">
                  <a:moveTo>
                    <a:pt x="713229" y="33067"/>
                  </a:moveTo>
                  <a:lnTo>
                    <a:pt x="628766" y="33067"/>
                  </a:lnTo>
                  <a:lnTo>
                    <a:pt x="658788" y="37640"/>
                  </a:lnTo>
                  <a:lnTo>
                    <a:pt x="682318" y="50325"/>
                  </a:lnTo>
                  <a:lnTo>
                    <a:pt x="699069" y="69572"/>
                  </a:lnTo>
                  <a:lnTo>
                    <a:pt x="708753" y="93829"/>
                  </a:lnTo>
                  <a:lnTo>
                    <a:pt x="746825" y="93829"/>
                  </a:lnTo>
                  <a:lnTo>
                    <a:pt x="731601" y="54024"/>
                  </a:lnTo>
                  <a:lnTo>
                    <a:pt x="713229" y="33067"/>
                  </a:lnTo>
                  <a:close/>
                </a:path>
                <a:path w="1243330" h="288925">
                  <a:moveTo>
                    <a:pt x="975268" y="4994"/>
                  </a:moveTo>
                  <a:lnTo>
                    <a:pt x="786059" y="4994"/>
                  </a:lnTo>
                  <a:lnTo>
                    <a:pt x="786059" y="283802"/>
                  </a:lnTo>
                  <a:lnTo>
                    <a:pt x="975268" y="283802"/>
                  </a:lnTo>
                  <a:lnTo>
                    <a:pt x="975268" y="249971"/>
                  </a:lnTo>
                  <a:lnTo>
                    <a:pt x="825283" y="249971"/>
                  </a:lnTo>
                  <a:lnTo>
                    <a:pt x="825283" y="157283"/>
                  </a:lnTo>
                  <a:lnTo>
                    <a:pt x="966420" y="157283"/>
                  </a:lnTo>
                  <a:lnTo>
                    <a:pt x="966420" y="123441"/>
                  </a:lnTo>
                  <a:lnTo>
                    <a:pt x="825283" y="123441"/>
                  </a:lnTo>
                  <a:lnTo>
                    <a:pt x="825283" y="38836"/>
                  </a:lnTo>
                  <a:lnTo>
                    <a:pt x="975268" y="38836"/>
                  </a:lnTo>
                  <a:lnTo>
                    <a:pt x="975268" y="4994"/>
                  </a:lnTo>
                  <a:close/>
                </a:path>
                <a:path w="1243330" h="288925">
                  <a:moveTo>
                    <a:pt x="1057171" y="4994"/>
                  </a:moveTo>
                  <a:lnTo>
                    <a:pt x="1017948" y="4994"/>
                  </a:lnTo>
                  <a:lnTo>
                    <a:pt x="1017948" y="283802"/>
                  </a:lnTo>
                  <a:lnTo>
                    <a:pt x="1057171" y="283802"/>
                  </a:lnTo>
                  <a:lnTo>
                    <a:pt x="1057171" y="157283"/>
                  </a:lnTo>
                  <a:lnTo>
                    <a:pt x="1242925" y="157283"/>
                  </a:lnTo>
                  <a:lnTo>
                    <a:pt x="1242925" y="123441"/>
                  </a:lnTo>
                  <a:lnTo>
                    <a:pt x="1057171" y="123441"/>
                  </a:lnTo>
                  <a:lnTo>
                    <a:pt x="1057171" y="4994"/>
                  </a:lnTo>
                  <a:close/>
                </a:path>
                <a:path w="1243330" h="288925">
                  <a:moveTo>
                    <a:pt x="1242925" y="157283"/>
                  </a:moveTo>
                  <a:lnTo>
                    <a:pt x="1203701" y="157283"/>
                  </a:lnTo>
                  <a:lnTo>
                    <a:pt x="1203701" y="283802"/>
                  </a:lnTo>
                  <a:lnTo>
                    <a:pt x="1242925" y="283802"/>
                  </a:lnTo>
                  <a:lnTo>
                    <a:pt x="1242925" y="157283"/>
                  </a:lnTo>
                  <a:close/>
                </a:path>
                <a:path w="1243330" h="288925">
                  <a:moveTo>
                    <a:pt x="1242925" y="4994"/>
                  </a:moveTo>
                  <a:lnTo>
                    <a:pt x="1203701" y="4994"/>
                  </a:lnTo>
                  <a:lnTo>
                    <a:pt x="1203701" y="123441"/>
                  </a:lnTo>
                  <a:lnTo>
                    <a:pt x="1242925" y="123441"/>
                  </a:lnTo>
                  <a:lnTo>
                    <a:pt x="1242925" y="4994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9">
              <a:extLst>
                <a:ext uri="{FF2B5EF4-FFF2-40B4-BE49-F238E27FC236}">
                  <a16:creationId xmlns:a16="http://schemas.microsoft.com/office/drawing/2014/main" id="{CE2579DF-0B30-705B-C8FD-25AF551B5F6A}"/>
                </a:ext>
              </a:extLst>
            </p:cNvPr>
            <p:cNvSpPr/>
            <p:nvPr userDrawn="1"/>
          </p:nvSpPr>
          <p:spPr>
            <a:xfrm>
              <a:off x="143595" y="135785"/>
              <a:ext cx="288028" cy="288028"/>
            </a:xfrm>
            <a:custGeom>
              <a:avLst/>
              <a:gdLst/>
              <a:ahLst/>
              <a:cxnLst/>
              <a:rect l="l" t="t" r="r" b="b"/>
              <a:pathLst>
                <a:path w="474980" h="474980">
                  <a:moveTo>
                    <a:pt x="62826" y="237299"/>
                  </a:moveTo>
                  <a:lnTo>
                    <a:pt x="60350" y="225069"/>
                  </a:lnTo>
                  <a:lnTo>
                    <a:pt x="53619" y="215087"/>
                  </a:lnTo>
                  <a:lnTo>
                    <a:pt x="43637" y="208356"/>
                  </a:lnTo>
                  <a:lnTo>
                    <a:pt x="31407" y="205879"/>
                  </a:lnTo>
                  <a:lnTo>
                    <a:pt x="19177" y="208356"/>
                  </a:lnTo>
                  <a:lnTo>
                    <a:pt x="9194" y="215087"/>
                  </a:lnTo>
                  <a:lnTo>
                    <a:pt x="2463" y="225069"/>
                  </a:lnTo>
                  <a:lnTo>
                    <a:pt x="0" y="237299"/>
                  </a:lnTo>
                  <a:lnTo>
                    <a:pt x="2463" y="249516"/>
                  </a:lnTo>
                  <a:lnTo>
                    <a:pt x="9194" y="259499"/>
                  </a:lnTo>
                  <a:lnTo>
                    <a:pt x="19177" y="266230"/>
                  </a:lnTo>
                  <a:lnTo>
                    <a:pt x="31407" y="268693"/>
                  </a:lnTo>
                  <a:lnTo>
                    <a:pt x="43637" y="266230"/>
                  </a:lnTo>
                  <a:lnTo>
                    <a:pt x="53619" y="259499"/>
                  </a:lnTo>
                  <a:lnTo>
                    <a:pt x="60350" y="249516"/>
                  </a:lnTo>
                  <a:lnTo>
                    <a:pt x="62826" y="237299"/>
                  </a:lnTo>
                  <a:close/>
                </a:path>
                <a:path w="474980" h="474980">
                  <a:moveTo>
                    <a:pt x="90170" y="336346"/>
                  </a:moveTo>
                  <a:lnTo>
                    <a:pt x="86194" y="324523"/>
                  </a:lnTo>
                  <a:lnTo>
                    <a:pt x="77939" y="315175"/>
                  </a:lnTo>
                  <a:lnTo>
                    <a:pt x="67119" y="309892"/>
                  </a:lnTo>
                  <a:lnTo>
                    <a:pt x="55118" y="309054"/>
                  </a:lnTo>
                  <a:lnTo>
                    <a:pt x="43294" y="313029"/>
                  </a:lnTo>
                  <a:lnTo>
                    <a:pt x="33934" y="321284"/>
                  </a:lnTo>
                  <a:lnTo>
                    <a:pt x="28651" y="332105"/>
                  </a:lnTo>
                  <a:lnTo>
                    <a:pt x="27813" y="344106"/>
                  </a:lnTo>
                  <a:lnTo>
                    <a:pt x="31788" y="355930"/>
                  </a:lnTo>
                  <a:lnTo>
                    <a:pt x="40043" y="365290"/>
                  </a:lnTo>
                  <a:lnTo>
                    <a:pt x="50863" y="370560"/>
                  </a:lnTo>
                  <a:lnTo>
                    <a:pt x="62877" y="371398"/>
                  </a:lnTo>
                  <a:lnTo>
                    <a:pt x="74701" y="367423"/>
                  </a:lnTo>
                  <a:lnTo>
                    <a:pt x="84048" y="359181"/>
                  </a:lnTo>
                  <a:lnTo>
                    <a:pt x="89331" y="348361"/>
                  </a:lnTo>
                  <a:lnTo>
                    <a:pt x="90170" y="336346"/>
                  </a:lnTo>
                  <a:close/>
                </a:path>
                <a:path w="474980" h="474980">
                  <a:moveTo>
                    <a:pt x="90170" y="138239"/>
                  </a:moveTo>
                  <a:lnTo>
                    <a:pt x="89331" y="126225"/>
                  </a:lnTo>
                  <a:lnTo>
                    <a:pt x="84048" y="115404"/>
                  </a:lnTo>
                  <a:lnTo>
                    <a:pt x="74701" y="107149"/>
                  </a:lnTo>
                  <a:lnTo>
                    <a:pt x="62877" y="103174"/>
                  </a:lnTo>
                  <a:lnTo>
                    <a:pt x="50863" y="104013"/>
                  </a:lnTo>
                  <a:lnTo>
                    <a:pt x="40043" y="109296"/>
                  </a:lnTo>
                  <a:lnTo>
                    <a:pt x="31800" y="118656"/>
                  </a:lnTo>
                  <a:lnTo>
                    <a:pt x="27813" y="130479"/>
                  </a:lnTo>
                  <a:lnTo>
                    <a:pt x="28651" y="142481"/>
                  </a:lnTo>
                  <a:lnTo>
                    <a:pt x="33934" y="153301"/>
                  </a:lnTo>
                  <a:lnTo>
                    <a:pt x="43281" y="161556"/>
                  </a:lnTo>
                  <a:lnTo>
                    <a:pt x="55105" y="165519"/>
                  </a:lnTo>
                  <a:lnTo>
                    <a:pt x="67119" y="164693"/>
                  </a:lnTo>
                  <a:lnTo>
                    <a:pt x="77939" y="159410"/>
                  </a:lnTo>
                  <a:lnTo>
                    <a:pt x="86194" y="150050"/>
                  </a:lnTo>
                  <a:lnTo>
                    <a:pt x="90170" y="138239"/>
                  </a:lnTo>
                  <a:close/>
                </a:path>
                <a:path w="474980" h="474980">
                  <a:moveTo>
                    <a:pt x="141947" y="237286"/>
                  </a:moveTo>
                  <a:lnTo>
                    <a:pt x="140106" y="228117"/>
                  </a:lnTo>
                  <a:lnTo>
                    <a:pt x="135051" y="220637"/>
                  </a:lnTo>
                  <a:lnTo>
                    <a:pt x="127571" y="215582"/>
                  </a:lnTo>
                  <a:lnTo>
                    <a:pt x="118402" y="213741"/>
                  </a:lnTo>
                  <a:lnTo>
                    <a:pt x="109232" y="215582"/>
                  </a:lnTo>
                  <a:lnTo>
                    <a:pt x="101752" y="220637"/>
                  </a:lnTo>
                  <a:lnTo>
                    <a:pt x="96697" y="228117"/>
                  </a:lnTo>
                  <a:lnTo>
                    <a:pt x="94856" y="237286"/>
                  </a:lnTo>
                  <a:lnTo>
                    <a:pt x="96697" y="246456"/>
                  </a:lnTo>
                  <a:lnTo>
                    <a:pt x="101752" y="253949"/>
                  </a:lnTo>
                  <a:lnTo>
                    <a:pt x="109232" y="258991"/>
                  </a:lnTo>
                  <a:lnTo>
                    <a:pt x="118402" y="260845"/>
                  </a:lnTo>
                  <a:lnTo>
                    <a:pt x="127571" y="258991"/>
                  </a:lnTo>
                  <a:lnTo>
                    <a:pt x="135051" y="253949"/>
                  </a:lnTo>
                  <a:lnTo>
                    <a:pt x="140106" y="246456"/>
                  </a:lnTo>
                  <a:lnTo>
                    <a:pt x="141947" y="237286"/>
                  </a:lnTo>
                  <a:close/>
                </a:path>
                <a:path w="474980" h="474980">
                  <a:moveTo>
                    <a:pt x="165519" y="419468"/>
                  </a:moveTo>
                  <a:lnTo>
                    <a:pt x="164680" y="407454"/>
                  </a:lnTo>
                  <a:lnTo>
                    <a:pt x="159397" y="396633"/>
                  </a:lnTo>
                  <a:lnTo>
                    <a:pt x="150050" y="388378"/>
                  </a:lnTo>
                  <a:lnTo>
                    <a:pt x="138226" y="384403"/>
                  </a:lnTo>
                  <a:lnTo>
                    <a:pt x="126212" y="385241"/>
                  </a:lnTo>
                  <a:lnTo>
                    <a:pt x="115392" y="390525"/>
                  </a:lnTo>
                  <a:lnTo>
                    <a:pt x="107149" y="399884"/>
                  </a:lnTo>
                  <a:lnTo>
                    <a:pt x="103174" y="411708"/>
                  </a:lnTo>
                  <a:lnTo>
                    <a:pt x="104013" y="423710"/>
                  </a:lnTo>
                  <a:lnTo>
                    <a:pt x="109296" y="434530"/>
                  </a:lnTo>
                  <a:lnTo>
                    <a:pt x="118643" y="442785"/>
                  </a:lnTo>
                  <a:lnTo>
                    <a:pt x="130467" y="446760"/>
                  </a:lnTo>
                  <a:lnTo>
                    <a:pt x="142481" y="445922"/>
                  </a:lnTo>
                  <a:lnTo>
                    <a:pt x="153301" y="440639"/>
                  </a:lnTo>
                  <a:lnTo>
                    <a:pt x="161544" y="431292"/>
                  </a:lnTo>
                  <a:lnTo>
                    <a:pt x="165519" y="419468"/>
                  </a:lnTo>
                  <a:close/>
                </a:path>
                <a:path w="474980" h="474980">
                  <a:moveTo>
                    <a:pt x="165519" y="55118"/>
                  </a:moveTo>
                  <a:lnTo>
                    <a:pt x="161544" y="43294"/>
                  </a:lnTo>
                  <a:lnTo>
                    <a:pt x="153301" y="33947"/>
                  </a:lnTo>
                  <a:lnTo>
                    <a:pt x="142481" y="28663"/>
                  </a:lnTo>
                  <a:lnTo>
                    <a:pt x="130467" y="27825"/>
                  </a:lnTo>
                  <a:lnTo>
                    <a:pt x="118643" y="31800"/>
                  </a:lnTo>
                  <a:lnTo>
                    <a:pt x="109296" y="40043"/>
                  </a:lnTo>
                  <a:lnTo>
                    <a:pt x="104013" y="50876"/>
                  </a:lnTo>
                  <a:lnTo>
                    <a:pt x="103174" y="62890"/>
                  </a:lnTo>
                  <a:lnTo>
                    <a:pt x="107149" y="74714"/>
                  </a:lnTo>
                  <a:lnTo>
                    <a:pt x="115404" y="84061"/>
                  </a:lnTo>
                  <a:lnTo>
                    <a:pt x="126212" y="89331"/>
                  </a:lnTo>
                  <a:lnTo>
                    <a:pt x="138226" y="90170"/>
                  </a:lnTo>
                  <a:lnTo>
                    <a:pt x="150050" y="86194"/>
                  </a:lnTo>
                  <a:lnTo>
                    <a:pt x="159410" y="77952"/>
                  </a:lnTo>
                  <a:lnTo>
                    <a:pt x="164680" y="67132"/>
                  </a:lnTo>
                  <a:lnTo>
                    <a:pt x="165519" y="55118"/>
                  </a:lnTo>
                  <a:close/>
                </a:path>
                <a:path w="474980" h="474980">
                  <a:moveTo>
                    <a:pt x="176771" y="321348"/>
                  </a:moveTo>
                  <a:lnTo>
                    <a:pt x="175056" y="312483"/>
                  </a:lnTo>
                  <a:lnTo>
                    <a:pt x="169875" y="304698"/>
                  </a:lnTo>
                  <a:lnTo>
                    <a:pt x="162077" y="299529"/>
                  </a:lnTo>
                  <a:lnTo>
                    <a:pt x="153225" y="297802"/>
                  </a:lnTo>
                  <a:lnTo>
                    <a:pt x="144360" y="299529"/>
                  </a:lnTo>
                  <a:lnTo>
                    <a:pt x="136563" y="304698"/>
                  </a:lnTo>
                  <a:lnTo>
                    <a:pt x="131394" y="312483"/>
                  </a:lnTo>
                  <a:lnTo>
                    <a:pt x="129667" y="321348"/>
                  </a:lnTo>
                  <a:lnTo>
                    <a:pt x="131394" y="330212"/>
                  </a:lnTo>
                  <a:lnTo>
                    <a:pt x="136563" y="338010"/>
                  </a:lnTo>
                  <a:lnTo>
                    <a:pt x="144360" y="343179"/>
                  </a:lnTo>
                  <a:lnTo>
                    <a:pt x="153225" y="344906"/>
                  </a:lnTo>
                  <a:lnTo>
                    <a:pt x="162077" y="343179"/>
                  </a:lnTo>
                  <a:lnTo>
                    <a:pt x="169875" y="338010"/>
                  </a:lnTo>
                  <a:lnTo>
                    <a:pt x="175056" y="330212"/>
                  </a:lnTo>
                  <a:lnTo>
                    <a:pt x="176771" y="321348"/>
                  </a:lnTo>
                  <a:close/>
                </a:path>
                <a:path w="474980" h="474980">
                  <a:moveTo>
                    <a:pt x="176784" y="153225"/>
                  </a:moveTo>
                  <a:lnTo>
                    <a:pt x="175056" y="144360"/>
                  </a:lnTo>
                  <a:lnTo>
                    <a:pt x="169875" y="136575"/>
                  </a:lnTo>
                  <a:lnTo>
                    <a:pt x="162090" y="131394"/>
                  </a:lnTo>
                  <a:lnTo>
                    <a:pt x="153225" y="129679"/>
                  </a:lnTo>
                  <a:lnTo>
                    <a:pt x="144360" y="131394"/>
                  </a:lnTo>
                  <a:lnTo>
                    <a:pt x="136575" y="136575"/>
                  </a:lnTo>
                  <a:lnTo>
                    <a:pt x="131394" y="144360"/>
                  </a:lnTo>
                  <a:lnTo>
                    <a:pt x="129667" y="153225"/>
                  </a:lnTo>
                  <a:lnTo>
                    <a:pt x="131394" y="162090"/>
                  </a:lnTo>
                  <a:lnTo>
                    <a:pt x="136575" y="169875"/>
                  </a:lnTo>
                  <a:lnTo>
                    <a:pt x="144360" y="175056"/>
                  </a:lnTo>
                  <a:lnTo>
                    <a:pt x="153225" y="176784"/>
                  </a:lnTo>
                  <a:lnTo>
                    <a:pt x="162090" y="175056"/>
                  </a:lnTo>
                  <a:lnTo>
                    <a:pt x="169875" y="169875"/>
                  </a:lnTo>
                  <a:lnTo>
                    <a:pt x="175056" y="162090"/>
                  </a:lnTo>
                  <a:lnTo>
                    <a:pt x="176784" y="153225"/>
                  </a:lnTo>
                  <a:close/>
                </a:path>
                <a:path w="474980" h="474980">
                  <a:moveTo>
                    <a:pt x="209016" y="261874"/>
                  </a:moveTo>
                  <a:lnTo>
                    <a:pt x="201853" y="249478"/>
                  </a:lnTo>
                  <a:lnTo>
                    <a:pt x="193941" y="247357"/>
                  </a:lnTo>
                  <a:lnTo>
                    <a:pt x="187744" y="250939"/>
                  </a:lnTo>
                  <a:lnTo>
                    <a:pt x="181546" y="254520"/>
                  </a:lnTo>
                  <a:lnTo>
                    <a:pt x="179412" y="262432"/>
                  </a:lnTo>
                  <a:lnTo>
                    <a:pt x="186575" y="274828"/>
                  </a:lnTo>
                  <a:lnTo>
                    <a:pt x="194500" y="276961"/>
                  </a:lnTo>
                  <a:lnTo>
                    <a:pt x="206895" y="269798"/>
                  </a:lnTo>
                  <a:lnTo>
                    <a:pt x="209016" y="261874"/>
                  </a:lnTo>
                  <a:close/>
                </a:path>
                <a:path w="474980" h="474980">
                  <a:moveTo>
                    <a:pt x="209016" y="212699"/>
                  </a:moveTo>
                  <a:lnTo>
                    <a:pt x="206895" y="204787"/>
                  </a:lnTo>
                  <a:lnTo>
                    <a:pt x="200698" y="201206"/>
                  </a:lnTo>
                  <a:lnTo>
                    <a:pt x="194500" y="197624"/>
                  </a:lnTo>
                  <a:lnTo>
                    <a:pt x="186575" y="199745"/>
                  </a:lnTo>
                  <a:lnTo>
                    <a:pt x="179425" y="212153"/>
                  </a:lnTo>
                  <a:lnTo>
                    <a:pt x="181546" y="220078"/>
                  </a:lnTo>
                  <a:lnTo>
                    <a:pt x="193941" y="227228"/>
                  </a:lnTo>
                  <a:lnTo>
                    <a:pt x="201853" y="225107"/>
                  </a:lnTo>
                  <a:lnTo>
                    <a:pt x="209016" y="212699"/>
                  </a:lnTo>
                  <a:close/>
                </a:path>
                <a:path w="474980" h="474980">
                  <a:moveTo>
                    <a:pt x="250240" y="279869"/>
                  </a:moveTo>
                  <a:lnTo>
                    <a:pt x="244449" y="274066"/>
                  </a:lnTo>
                  <a:lnTo>
                    <a:pt x="230136" y="274066"/>
                  </a:lnTo>
                  <a:lnTo>
                    <a:pt x="224332" y="279869"/>
                  </a:lnTo>
                  <a:lnTo>
                    <a:pt x="224332" y="287020"/>
                  </a:lnTo>
                  <a:lnTo>
                    <a:pt x="224332" y="294170"/>
                  </a:lnTo>
                  <a:lnTo>
                    <a:pt x="230136" y="299974"/>
                  </a:lnTo>
                  <a:lnTo>
                    <a:pt x="244449" y="299974"/>
                  </a:lnTo>
                  <a:lnTo>
                    <a:pt x="250240" y="294170"/>
                  </a:lnTo>
                  <a:lnTo>
                    <a:pt x="250240" y="279869"/>
                  </a:lnTo>
                  <a:close/>
                </a:path>
                <a:path w="474980" h="474980">
                  <a:moveTo>
                    <a:pt x="250240" y="180416"/>
                  </a:moveTo>
                  <a:lnTo>
                    <a:pt x="244436" y="174612"/>
                  </a:lnTo>
                  <a:lnTo>
                    <a:pt x="230124" y="174612"/>
                  </a:lnTo>
                  <a:lnTo>
                    <a:pt x="224332" y="180416"/>
                  </a:lnTo>
                  <a:lnTo>
                    <a:pt x="224332" y="194716"/>
                  </a:lnTo>
                  <a:lnTo>
                    <a:pt x="230124" y="200520"/>
                  </a:lnTo>
                  <a:lnTo>
                    <a:pt x="244436" y="200520"/>
                  </a:lnTo>
                  <a:lnTo>
                    <a:pt x="250240" y="194716"/>
                  </a:lnTo>
                  <a:lnTo>
                    <a:pt x="250240" y="187566"/>
                  </a:lnTo>
                  <a:lnTo>
                    <a:pt x="250240" y="180416"/>
                  </a:lnTo>
                  <a:close/>
                </a:path>
                <a:path w="474980" h="474980">
                  <a:moveTo>
                    <a:pt x="260832" y="356171"/>
                  </a:moveTo>
                  <a:lnTo>
                    <a:pt x="258991" y="347002"/>
                  </a:lnTo>
                  <a:lnTo>
                    <a:pt x="253936" y="339521"/>
                  </a:lnTo>
                  <a:lnTo>
                    <a:pt x="246456" y="334479"/>
                  </a:lnTo>
                  <a:lnTo>
                    <a:pt x="237274" y="332625"/>
                  </a:lnTo>
                  <a:lnTo>
                    <a:pt x="228117" y="334479"/>
                  </a:lnTo>
                  <a:lnTo>
                    <a:pt x="220624" y="339521"/>
                  </a:lnTo>
                  <a:lnTo>
                    <a:pt x="215582" y="347002"/>
                  </a:lnTo>
                  <a:lnTo>
                    <a:pt x="213728" y="356171"/>
                  </a:lnTo>
                  <a:lnTo>
                    <a:pt x="215582" y="365340"/>
                  </a:lnTo>
                  <a:lnTo>
                    <a:pt x="220624" y="372833"/>
                  </a:lnTo>
                  <a:lnTo>
                    <a:pt x="228117" y="377875"/>
                  </a:lnTo>
                  <a:lnTo>
                    <a:pt x="237274" y="379717"/>
                  </a:lnTo>
                  <a:lnTo>
                    <a:pt x="246456" y="377875"/>
                  </a:lnTo>
                  <a:lnTo>
                    <a:pt x="253936" y="372833"/>
                  </a:lnTo>
                  <a:lnTo>
                    <a:pt x="258991" y="365340"/>
                  </a:lnTo>
                  <a:lnTo>
                    <a:pt x="260832" y="356171"/>
                  </a:lnTo>
                  <a:close/>
                </a:path>
                <a:path w="474980" h="474980">
                  <a:moveTo>
                    <a:pt x="260845" y="118402"/>
                  </a:moveTo>
                  <a:lnTo>
                    <a:pt x="258991" y="109245"/>
                  </a:lnTo>
                  <a:lnTo>
                    <a:pt x="253936" y="101752"/>
                  </a:lnTo>
                  <a:lnTo>
                    <a:pt x="246456" y="96710"/>
                  </a:lnTo>
                  <a:lnTo>
                    <a:pt x="237286" y="94856"/>
                  </a:lnTo>
                  <a:lnTo>
                    <a:pt x="228117" y="96710"/>
                  </a:lnTo>
                  <a:lnTo>
                    <a:pt x="220637" y="101752"/>
                  </a:lnTo>
                  <a:lnTo>
                    <a:pt x="215582" y="109245"/>
                  </a:lnTo>
                  <a:lnTo>
                    <a:pt x="213728" y="118402"/>
                  </a:lnTo>
                  <a:lnTo>
                    <a:pt x="215582" y="127584"/>
                  </a:lnTo>
                  <a:lnTo>
                    <a:pt x="220637" y="135064"/>
                  </a:lnTo>
                  <a:lnTo>
                    <a:pt x="228117" y="140119"/>
                  </a:lnTo>
                  <a:lnTo>
                    <a:pt x="237286" y="141960"/>
                  </a:lnTo>
                  <a:lnTo>
                    <a:pt x="246456" y="140119"/>
                  </a:lnTo>
                  <a:lnTo>
                    <a:pt x="253936" y="135064"/>
                  </a:lnTo>
                  <a:lnTo>
                    <a:pt x="258991" y="127584"/>
                  </a:lnTo>
                  <a:lnTo>
                    <a:pt x="260845" y="118402"/>
                  </a:lnTo>
                  <a:close/>
                </a:path>
                <a:path w="474980" h="474980">
                  <a:moveTo>
                    <a:pt x="268693" y="443166"/>
                  </a:moveTo>
                  <a:lnTo>
                    <a:pt x="266230" y="430936"/>
                  </a:lnTo>
                  <a:lnTo>
                    <a:pt x="259499" y="420954"/>
                  </a:lnTo>
                  <a:lnTo>
                    <a:pt x="249516" y="414223"/>
                  </a:lnTo>
                  <a:lnTo>
                    <a:pt x="237286" y="411746"/>
                  </a:lnTo>
                  <a:lnTo>
                    <a:pt x="225069" y="414223"/>
                  </a:lnTo>
                  <a:lnTo>
                    <a:pt x="215074" y="420954"/>
                  </a:lnTo>
                  <a:lnTo>
                    <a:pt x="208343" y="430936"/>
                  </a:lnTo>
                  <a:lnTo>
                    <a:pt x="205879" y="443166"/>
                  </a:lnTo>
                  <a:lnTo>
                    <a:pt x="208343" y="455396"/>
                  </a:lnTo>
                  <a:lnTo>
                    <a:pt x="215074" y="465378"/>
                  </a:lnTo>
                  <a:lnTo>
                    <a:pt x="225069" y="472109"/>
                  </a:lnTo>
                  <a:lnTo>
                    <a:pt x="237286" y="474573"/>
                  </a:lnTo>
                  <a:lnTo>
                    <a:pt x="249516" y="472109"/>
                  </a:lnTo>
                  <a:lnTo>
                    <a:pt x="259499" y="465378"/>
                  </a:lnTo>
                  <a:lnTo>
                    <a:pt x="266230" y="455396"/>
                  </a:lnTo>
                  <a:lnTo>
                    <a:pt x="268693" y="443166"/>
                  </a:lnTo>
                  <a:close/>
                </a:path>
                <a:path w="474980" h="474980">
                  <a:moveTo>
                    <a:pt x="268693" y="31419"/>
                  </a:moveTo>
                  <a:lnTo>
                    <a:pt x="266230" y="19189"/>
                  </a:lnTo>
                  <a:lnTo>
                    <a:pt x="259486" y="9207"/>
                  </a:lnTo>
                  <a:lnTo>
                    <a:pt x="249504" y="2476"/>
                  </a:lnTo>
                  <a:lnTo>
                    <a:pt x="237274" y="0"/>
                  </a:lnTo>
                  <a:lnTo>
                    <a:pt x="225056" y="2476"/>
                  </a:lnTo>
                  <a:lnTo>
                    <a:pt x="215074" y="9207"/>
                  </a:lnTo>
                  <a:lnTo>
                    <a:pt x="208343" y="19189"/>
                  </a:lnTo>
                  <a:lnTo>
                    <a:pt x="205879" y="31419"/>
                  </a:lnTo>
                  <a:lnTo>
                    <a:pt x="208343" y="43649"/>
                  </a:lnTo>
                  <a:lnTo>
                    <a:pt x="215074" y="53632"/>
                  </a:lnTo>
                  <a:lnTo>
                    <a:pt x="225056" y="60363"/>
                  </a:lnTo>
                  <a:lnTo>
                    <a:pt x="237274" y="62826"/>
                  </a:lnTo>
                  <a:lnTo>
                    <a:pt x="249504" y="60363"/>
                  </a:lnTo>
                  <a:lnTo>
                    <a:pt x="259486" y="53632"/>
                  </a:lnTo>
                  <a:lnTo>
                    <a:pt x="266230" y="43649"/>
                  </a:lnTo>
                  <a:lnTo>
                    <a:pt x="268693" y="31419"/>
                  </a:lnTo>
                  <a:close/>
                </a:path>
                <a:path w="474980" h="474980">
                  <a:moveTo>
                    <a:pt x="295148" y="262432"/>
                  </a:moveTo>
                  <a:lnTo>
                    <a:pt x="293027" y="254508"/>
                  </a:lnTo>
                  <a:lnTo>
                    <a:pt x="280631" y="247357"/>
                  </a:lnTo>
                  <a:lnTo>
                    <a:pt x="272707" y="249478"/>
                  </a:lnTo>
                  <a:lnTo>
                    <a:pt x="265544" y="261874"/>
                  </a:lnTo>
                  <a:lnTo>
                    <a:pt x="267677" y="269798"/>
                  </a:lnTo>
                  <a:lnTo>
                    <a:pt x="273875" y="273380"/>
                  </a:lnTo>
                  <a:lnTo>
                    <a:pt x="280073" y="276961"/>
                  </a:lnTo>
                  <a:lnTo>
                    <a:pt x="287985" y="274828"/>
                  </a:lnTo>
                  <a:lnTo>
                    <a:pt x="295148" y="262432"/>
                  </a:lnTo>
                  <a:close/>
                </a:path>
                <a:path w="474980" h="474980">
                  <a:moveTo>
                    <a:pt x="295148" y="212153"/>
                  </a:moveTo>
                  <a:lnTo>
                    <a:pt x="287985" y="199758"/>
                  </a:lnTo>
                  <a:lnTo>
                    <a:pt x="280073" y="197624"/>
                  </a:lnTo>
                  <a:lnTo>
                    <a:pt x="267677" y="204774"/>
                  </a:lnTo>
                  <a:lnTo>
                    <a:pt x="265557" y="212699"/>
                  </a:lnTo>
                  <a:lnTo>
                    <a:pt x="272707" y="225107"/>
                  </a:lnTo>
                  <a:lnTo>
                    <a:pt x="280631" y="227228"/>
                  </a:lnTo>
                  <a:lnTo>
                    <a:pt x="286829" y="223647"/>
                  </a:lnTo>
                  <a:lnTo>
                    <a:pt x="293027" y="220065"/>
                  </a:lnTo>
                  <a:lnTo>
                    <a:pt x="295148" y="212153"/>
                  </a:lnTo>
                  <a:close/>
                </a:path>
                <a:path w="474980" h="474980">
                  <a:moveTo>
                    <a:pt x="344893" y="153225"/>
                  </a:moveTo>
                  <a:lnTo>
                    <a:pt x="343179" y="144360"/>
                  </a:lnTo>
                  <a:lnTo>
                    <a:pt x="338010" y="136575"/>
                  </a:lnTo>
                  <a:lnTo>
                    <a:pt x="330212" y="131394"/>
                  </a:lnTo>
                  <a:lnTo>
                    <a:pt x="321348" y="129667"/>
                  </a:lnTo>
                  <a:lnTo>
                    <a:pt x="312483" y="131394"/>
                  </a:lnTo>
                  <a:lnTo>
                    <a:pt x="304698" y="136575"/>
                  </a:lnTo>
                  <a:lnTo>
                    <a:pt x="299516" y="144360"/>
                  </a:lnTo>
                  <a:lnTo>
                    <a:pt x="297789" y="153225"/>
                  </a:lnTo>
                  <a:lnTo>
                    <a:pt x="299516" y="162090"/>
                  </a:lnTo>
                  <a:lnTo>
                    <a:pt x="304698" y="169887"/>
                  </a:lnTo>
                  <a:lnTo>
                    <a:pt x="312483" y="175056"/>
                  </a:lnTo>
                  <a:lnTo>
                    <a:pt x="321348" y="176784"/>
                  </a:lnTo>
                  <a:lnTo>
                    <a:pt x="330212" y="175056"/>
                  </a:lnTo>
                  <a:lnTo>
                    <a:pt x="338010" y="169887"/>
                  </a:lnTo>
                  <a:lnTo>
                    <a:pt x="343179" y="162090"/>
                  </a:lnTo>
                  <a:lnTo>
                    <a:pt x="344893" y="153225"/>
                  </a:lnTo>
                  <a:close/>
                </a:path>
                <a:path w="474980" h="474980">
                  <a:moveTo>
                    <a:pt x="344906" y="321348"/>
                  </a:moveTo>
                  <a:lnTo>
                    <a:pt x="343179" y="312496"/>
                  </a:lnTo>
                  <a:lnTo>
                    <a:pt x="337997" y="304698"/>
                  </a:lnTo>
                  <a:lnTo>
                    <a:pt x="330212" y="299529"/>
                  </a:lnTo>
                  <a:lnTo>
                    <a:pt x="321348" y="297802"/>
                  </a:lnTo>
                  <a:lnTo>
                    <a:pt x="312483" y="299529"/>
                  </a:lnTo>
                  <a:lnTo>
                    <a:pt x="304698" y="304698"/>
                  </a:lnTo>
                  <a:lnTo>
                    <a:pt x="299516" y="312496"/>
                  </a:lnTo>
                  <a:lnTo>
                    <a:pt x="297802" y="321348"/>
                  </a:lnTo>
                  <a:lnTo>
                    <a:pt x="299516" y="330212"/>
                  </a:lnTo>
                  <a:lnTo>
                    <a:pt x="304698" y="338010"/>
                  </a:lnTo>
                  <a:lnTo>
                    <a:pt x="312483" y="343179"/>
                  </a:lnTo>
                  <a:lnTo>
                    <a:pt x="321348" y="344906"/>
                  </a:lnTo>
                  <a:lnTo>
                    <a:pt x="330212" y="343179"/>
                  </a:lnTo>
                  <a:lnTo>
                    <a:pt x="337997" y="338010"/>
                  </a:lnTo>
                  <a:lnTo>
                    <a:pt x="343179" y="330212"/>
                  </a:lnTo>
                  <a:lnTo>
                    <a:pt x="344906" y="321348"/>
                  </a:lnTo>
                  <a:close/>
                </a:path>
                <a:path w="474980" h="474980">
                  <a:moveTo>
                    <a:pt x="371398" y="411695"/>
                  </a:moveTo>
                  <a:lnTo>
                    <a:pt x="367423" y="399872"/>
                  </a:lnTo>
                  <a:lnTo>
                    <a:pt x="359168" y="390525"/>
                  </a:lnTo>
                  <a:lnTo>
                    <a:pt x="348348" y="385241"/>
                  </a:lnTo>
                  <a:lnTo>
                    <a:pt x="336346" y="384403"/>
                  </a:lnTo>
                  <a:lnTo>
                    <a:pt x="324523" y="388391"/>
                  </a:lnTo>
                  <a:lnTo>
                    <a:pt x="315163" y="396633"/>
                  </a:lnTo>
                  <a:lnTo>
                    <a:pt x="309880" y="407454"/>
                  </a:lnTo>
                  <a:lnTo>
                    <a:pt x="309054" y="419468"/>
                  </a:lnTo>
                  <a:lnTo>
                    <a:pt x="313016" y="431292"/>
                  </a:lnTo>
                  <a:lnTo>
                    <a:pt x="321271" y="440639"/>
                  </a:lnTo>
                  <a:lnTo>
                    <a:pt x="332092" y="445922"/>
                  </a:lnTo>
                  <a:lnTo>
                    <a:pt x="344106" y="446760"/>
                  </a:lnTo>
                  <a:lnTo>
                    <a:pt x="355917" y="442785"/>
                  </a:lnTo>
                  <a:lnTo>
                    <a:pt x="365277" y="434530"/>
                  </a:lnTo>
                  <a:lnTo>
                    <a:pt x="370560" y="423710"/>
                  </a:lnTo>
                  <a:lnTo>
                    <a:pt x="371398" y="411695"/>
                  </a:lnTo>
                  <a:close/>
                </a:path>
                <a:path w="474980" h="474980">
                  <a:moveTo>
                    <a:pt x="371398" y="62877"/>
                  </a:moveTo>
                  <a:lnTo>
                    <a:pt x="370560" y="50863"/>
                  </a:lnTo>
                  <a:lnTo>
                    <a:pt x="365277" y="40055"/>
                  </a:lnTo>
                  <a:lnTo>
                    <a:pt x="355930" y="31800"/>
                  </a:lnTo>
                  <a:lnTo>
                    <a:pt x="344106" y="27825"/>
                  </a:lnTo>
                  <a:lnTo>
                    <a:pt x="332092" y="28663"/>
                  </a:lnTo>
                  <a:lnTo>
                    <a:pt x="321271" y="33934"/>
                  </a:lnTo>
                  <a:lnTo>
                    <a:pt x="313029" y="43294"/>
                  </a:lnTo>
                  <a:lnTo>
                    <a:pt x="309054" y="55118"/>
                  </a:lnTo>
                  <a:lnTo>
                    <a:pt x="309892" y="67132"/>
                  </a:lnTo>
                  <a:lnTo>
                    <a:pt x="315163" y="77952"/>
                  </a:lnTo>
                  <a:lnTo>
                    <a:pt x="324523" y="86194"/>
                  </a:lnTo>
                  <a:lnTo>
                    <a:pt x="336346" y="90170"/>
                  </a:lnTo>
                  <a:lnTo>
                    <a:pt x="348348" y="89331"/>
                  </a:lnTo>
                  <a:lnTo>
                    <a:pt x="359168" y="84061"/>
                  </a:lnTo>
                  <a:lnTo>
                    <a:pt x="367423" y="74701"/>
                  </a:lnTo>
                  <a:lnTo>
                    <a:pt x="371398" y="62877"/>
                  </a:lnTo>
                  <a:close/>
                </a:path>
                <a:path w="474980" h="474980">
                  <a:moveTo>
                    <a:pt x="379717" y="237286"/>
                  </a:moveTo>
                  <a:lnTo>
                    <a:pt x="377863" y="228117"/>
                  </a:lnTo>
                  <a:lnTo>
                    <a:pt x="372821" y="220637"/>
                  </a:lnTo>
                  <a:lnTo>
                    <a:pt x="365340" y="215582"/>
                  </a:lnTo>
                  <a:lnTo>
                    <a:pt x="356171" y="213741"/>
                  </a:lnTo>
                  <a:lnTo>
                    <a:pt x="347002" y="215582"/>
                  </a:lnTo>
                  <a:lnTo>
                    <a:pt x="339509" y="220637"/>
                  </a:lnTo>
                  <a:lnTo>
                    <a:pt x="334467" y="228117"/>
                  </a:lnTo>
                  <a:lnTo>
                    <a:pt x="332625" y="237286"/>
                  </a:lnTo>
                  <a:lnTo>
                    <a:pt x="334467" y="246456"/>
                  </a:lnTo>
                  <a:lnTo>
                    <a:pt x="339509" y="253949"/>
                  </a:lnTo>
                  <a:lnTo>
                    <a:pt x="347002" y="258991"/>
                  </a:lnTo>
                  <a:lnTo>
                    <a:pt x="356171" y="260845"/>
                  </a:lnTo>
                  <a:lnTo>
                    <a:pt x="365340" y="258991"/>
                  </a:lnTo>
                  <a:lnTo>
                    <a:pt x="372821" y="253949"/>
                  </a:lnTo>
                  <a:lnTo>
                    <a:pt x="377863" y="246456"/>
                  </a:lnTo>
                  <a:lnTo>
                    <a:pt x="379717" y="237286"/>
                  </a:lnTo>
                  <a:close/>
                </a:path>
                <a:path w="474980" h="474980">
                  <a:moveTo>
                    <a:pt x="446747" y="344106"/>
                  </a:moveTo>
                  <a:lnTo>
                    <a:pt x="445909" y="332092"/>
                  </a:lnTo>
                  <a:lnTo>
                    <a:pt x="440639" y="321284"/>
                  </a:lnTo>
                  <a:lnTo>
                    <a:pt x="431292" y="313029"/>
                  </a:lnTo>
                  <a:lnTo>
                    <a:pt x="419468" y="309054"/>
                  </a:lnTo>
                  <a:lnTo>
                    <a:pt x="407454" y="309892"/>
                  </a:lnTo>
                  <a:lnTo>
                    <a:pt x="396621" y="315175"/>
                  </a:lnTo>
                  <a:lnTo>
                    <a:pt x="388378" y="324523"/>
                  </a:lnTo>
                  <a:lnTo>
                    <a:pt x="384403" y="336346"/>
                  </a:lnTo>
                  <a:lnTo>
                    <a:pt x="385241" y="348361"/>
                  </a:lnTo>
                  <a:lnTo>
                    <a:pt x="390525" y="359181"/>
                  </a:lnTo>
                  <a:lnTo>
                    <a:pt x="399872" y="367423"/>
                  </a:lnTo>
                  <a:lnTo>
                    <a:pt x="411695" y="371398"/>
                  </a:lnTo>
                  <a:lnTo>
                    <a:pt x="423710" y="370560"/>
                  </a:lnTo>
                  <a:lnTo>
                    <a:pt x="434530" y="365290"/>
                  </a:lnTo>
                  <a:lnTo>
                    <a:pt x="442772" y="355930"/>
                  </a:lnTo>
                  <a:lnTo>
                    <a:pt x="446747" y="344106"/>
                  </a:lnTo>
                  <a:close/>
                </a:path>
                <a:path w="474980" h="474980">
                  <a:moveTo>
                    <a:pt x="446747" y="130467"/>
                  </a:moveTo>
                  <a:lnTo>
                    <a:pt x="442772" y="118656"/>
                  </a:lnTo>
                  <a:lnTo>
                    <a:pt x="434530" y="109296"/>
                  </a:lnTo>
                  <a:lnTo>
                    <a:pt x="423710" y="104025"/>
                  </a:lnTo>
                  <a:lnTo>
                    <a:pt x="411695" y="103187"/>
                  </a:lnTo>
                  <a:lnTo>
                    <a:pt x="399872" y="107162"/>
                  </a:lnTo>
                  <a:lnTo>
                    <a:pt x="390525" y="115404"/>
                  </a:lnTo>
                  <a:lnTo>
                    <a:pt x="385241" y="126225"/>
                  </a:lnTo>
                  <a:lnTo>
                    <a:pt x="384403" y="138239"/>
                  </a:lnTo>
                  <a:lnTo>
                    <a:pt x="388378" y="150050"/>
                  </a:lnTo>
                  <a:lnTo>
                    <a:pt x="396633" y="159410"/>
                  </a:lnTo>
                  <a:lnTo>
                    <a:pt x="407454" y="164693"/>
                  </a:lnTo>
                  <a:lnTo>
                    <a:pt x="419455" y="165531"/>
                  </a:lnTo>
                  <a:lnTo>
                    <a:pt x="431279" y="161556"/>
                  </a:lnTo>
                  <a:lnTo>
                    <a:pt x="440639" y="153301"/>
                  </a:lnTo>
                  <a:lnTo>
                    <a:pt x="445909" y="142481"/>
                  </a:lnTo>
                  <a:lnTo>
                    <a:pt x="446747" y="130467"/>
                  </a:lnTo>
                  <a:close/>
                </a:path>
                <a:path w="474980" h="474980">
                  <a:moveTo>
                    <a:pt x="474573" y="237286"/>
                  </a:moveTo>
                  <a:lnTo>
                    <a:pt x="472109" y="225069"/>
                  </a:lnTo>
                  <a:lnTo>
                    <a:pt x="465366" y="215087"/>
                  </a:lnTo>
                  <a:lnTo>
                    <a:pt x="455383" y="208356"/>
                  </a:lnTo>
                  <a:lnTo>
                    <a:pt x="443153" y="205879"/>
                  </a:lnTo>
                  <a:lnTo>
                    <a:pt x="430936" y="208356"/>
                  </a:lnTo>
                  <a:lnTo>
                    <a:pt x="420941" y="215087"/>
                  </a:lnTo>
                  <a:lnTo>
                    <a:pt x="414210" y="225069"/>
                  </a:lnTo>
                  <a:lnTo>
                    <a:pt x="411746" y="237286"/>
                  </a:lnTo>
                  <a:lnTo>
                    <a:pt x="414210" y="249516"/>
                  </a:lnTo>
                  <a:lnTo>
                    <a:pt x="420941" y="259499"/>
                  </a:lnTo>
                  <a:lnTo>
                    <a:pt x="430936" y="266230"/>
                  </a:lnTo>
                  <a:lnTo>
                    <a:pt x="443153" y="268693"/>
                  </a:lnTo>
                  <a:lnTo>
                    <a:pt x="455383" y="266230"/>
                  </a:lnTo>
                  <a:lnTo>
                    <a:pt x="465366" y="259499"/>
                  </a:lnTo>
                  <a:lnTo>
                    <a:pt x="472109" y="249516"/>
                  </a:lnTo>
                  <a:lnTo>
                    <a:pt x="474573" y="237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82A69B8-8BA3-E9DC-7A9D-FA14853D36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14532EF3-B6F0-B76B-9CFE-47CDEDAE2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99" y="2513736"/>
            <a:ext cx="5310188" cy="1636991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3 </a:t>
            </a:r>
            <a:br>
              <a:rPr lang="en-GB" dirty="0"/>
            </a:br>
            <a:r>
              <a:rPr lang="en-GB" dirty="0"/>
              <a:t>that can break over three lines</a:t>
            </a:r>
            <a:endParaRPr lang="en-US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4D478FC-C1D6-0DE6-37C6-AA33FAD9B03F}"/>
              </a:ext>
            </a:extLst>
          </p:cNvPr>
          <p:cNvSpPr>
            <a:spLocks noChangeAspect="1"/>
          </p:cNvSpPr>
          <p:nvPr userDrawn="1"/>
        </p:nvSpPr>
        <p:spPr>
          <a:xfrm>
            <a:off x="120673" y="601896"/>
            <a:ext cx="60193" cy="601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BD0C1D91-FFA1-5FDB-CEB8-B0B02CFC7AA5}"/>
              </a:ext>
            </a:extLst>
          </p:cNvPr>
          <p:cNvSpPr>
            <a:spLocks noChangeAspect="1"/>
          </p:cNvSpPr>
          <p:nvPr userDrawn="1"/>
        </p:nvSpPr>
        <p:spPr>
          <a:xfrm>
            <a:off x="12019937" y="601896"/>
            <a:ext cx="60193" cy="601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bject 3">
            <a:extLst>
              <a:ext uri="{FF2B5EF4-FFF2-40B4-BE49-F238E27FC236}">
                <a16:creationId xmlns:a16="http://schemas.microsoft.com/office/drawing/2014/main" id="{C5EF4511-BC4F-0983-B1FD-B1C40AF754A9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58531630-32B9-1621-E0BF-AB57475FA42D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31800" y="2057891"/>
            <a:ext cx="5310188" cy="310352"/>
          </a:xfrm>
        </p:spPr>
        <p:txBody>
          <a:bodyPr/>
          <a:lstStyle>
            <a:lvl1pPr>
              <a:defRPr sz="1800" b="1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9A87186C-6BB8-7F54-1DBF-FCB960A85021}"/>
              </a:ext>
            </a:extLst>
          </p:cNvPr>
          <p:cNvSpPr>
            <a:spLocks noGrp="1"/>
          </p:cNvSpPr>
          <p:nvPr userDrawn="1"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97917536-AC2E-04E3-8773-CE9AA4733AE6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31623" y="4438553"/>
            <a:ext cx="4248150" cy="86302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400" spc="-8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800" spc="-40" baseline="0"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Presentation subtitle goes here over two lines if required. 24pt.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CC887A9-92D5-7F3E-0D36-DC64AEDC3A56}"/>
              </a:ext>
            </a:extLst>
          </p:cNvPr>
          <p:cNvGrpSpPr/>
          <p:nvPr userDrawn="1"/>
        </p:nvGrpSpPr>
        <p:grpSpPr>
          <a:xfrm>
            <a:off x="120673" y="6165413"/>
            <a:ext cx="11959457" cy="146980"/>
            <a:chOff x="120673" y="6165413"/>
            <a:chExt cx="11959457" cy="14698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8137BB38-0D85-AF41-480D-149A509D2BC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0673" y="6165413"/>
              <a:ext cx="60193" cy="6019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D82E447C-7A71-9209-D595-EE57E23B3EB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019937" y="6165413"/>
              <a:ext cx="60193" cy="6019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" name="object 3">
              <a:extLst>
                <a:ext uri="{FF2B5EF4-FFF2-40B4-BE49-F238E27FC236}">
                  <a16:creationId xmlns:a16="http://schemas.microsoft.com/office/drawing/2014/main" id="{BFD244BA-FBA2-A7F4-E199-457FADA22CFB}"/>
                </a:ext>
              </a:extLst>
            </p:cNvPr>
            <p:cNvSpPr/>
            <p:nvPr userDrawn="1"/>
          </p:nvSpPr>
          <p:spPr>
            <a:xfrm>
              <a:off x="127306" y="6312393"/>
              <a:ext cx="11937387" cy="0"/>
            </a:xfrm>
            <a:custGeom>
              <a:avLst/>
              <a:gdLst/>
              <a:ahLst/>
              <a:cxnLst/>
              <a:rect l="l" t="t" r="r" b="b"/>
              <a:pathLst>
                <a:path w="19685635">
                  <a:moveTo>
                    <a:pt x="0" y="0"/>
                  </a:moveTo>
                  <a:lnTo>
                    <a:pt x="19685264" y="0"/>
                  </a:lnTo>
                </a:path>
              </a:pathLst>
            </a:custGeom>
            <a:ln w="6350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3753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4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EC763B1-4CBB-9747-FBB3-F524D99EF5C8}"/>
              </a:ext>
            </a:extLst>
          </p:cNvPr>
          <p:cNvGrpSpPr/>
          <p:nvPr userDrawn="1"/>
        </p:nvGrpSpPr>
        <p:grpSpPr>
          <a:xfrm>
            <a:off x="143595" y="135785"/>
            <a:ext cx="1089185" cy="288028"/>
            <a:chOff x="143595" y="135785"/>
            <a:chExt cx="1089185" cy="288028"/>
          </a:xfrm>
          <a:solidFill>
            <a:schemeClr val="bg1"/>
          </a:solidFill>
        </p:grpSpPr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11BC098D-8670-1613-A0B1-8B6FCABEC146}"/>
                </a:ext>
              </a:extLst>
            </p:cNvPr>
            <p:cNvSpPr/>
            <p:nvPr userDrawn="1"/>
          </p:nvSpPr>
          <p:spPr>
            <a:xfrm>
              <a:off x="478824" y="191457"/>
              <a:ext cx="753956" cy="175204"/>
            </a:xfrm>
            <a:custGeom>
              <a:avLst/>
              <a:gdLst/>
              <a:ahLst/>
              <a:cxnLst/>
              <a:rect l="l" t="t" r="r" b="b"/>
              <a:pathLst>
                <a:path w="1243330" h="288925">
                  <a:moveTo>
                    <a:pt x="39223" y="4994"/>
                  </a:moveTo>
                  <a:lnTo>
                    <a:pt x="0" y="4994"/>
                  </a:lnTo>
                  <a:lnTo>
                    <a:pt x="0" y="170361"/>
                  </a:lnTo>
                  <a:lnTo>
                    <a:pt x="6495" y="225537"/>
                  </a:lnTo>
                  <a:lnTo>
                    <a:pt x="26582" y="262179"/>
                  </a:lnTo>
                  <a:lnTo>
                    <a:pt x="61163" y="282523"/>
                  </a:lnTo>
                  <a:lnTo>
                    <a:pt x="111137" y="288807"/>
                  </a:lnTo>
                  <a:lnTo>
                    <a:pt x="162919" y="281285"/>
                  </a:lnTo>
                  <a:lnTo>
                    <a:pt x="197719" y="258621"/>
                  </a:lnTo>
                  <a:lnTo>
                    <a:pt x="199605" y="254966"/>
                  </a:lnTo>
                  <a:lnTo>
                    <a:pt x="111137" y="254966"/>
                  </a:lnTo>
                  <a:lnTo>
                    <a:pt x="77840" y="250140"/>
                  </a:lnTo>
                  <a:lnTo>
                    <a:pt x="55571" y="235401"/>
                  </a:lnTo>
                  <a:lnTo>
                    <a:pt x="43106" y="210350"/>
                  </a:lnTo>
                  <a:lnTo>
                    <a:pt x="39223" y="174591"/>
                  </a:lnTo>
                  <a:lnTo>
                    <a:pt x="39223" y="4994"/>
                  </a:lnTo>
                  <a:close/>
                </a:path>
                <a:path w="1243330" h="288925">
                  <a:moveTo>
                    <a:pt x="223438" y="4994"/>
                  </a:moveTo>
                  <a:lnTo>
                    <a:pt x="184214" y="4994"/>
                  </a:lnTo>
                  <a:lnTo>
                    <a:pt x="184214" y="170361"/>
                  </a:lnTo>
                  <a:lnTo>
                    <a:pt x="180314" y="206781"/>
                  </a:lnTo>
                  <a:lnTo>
                    <a:pt x="167725" y="233286"/>
                  </a:lnTo>
                  <a:lnTo>
                    <a:pt x="145111" y="249479"/>
                  </a:lnTo>
                  <a:lnTo>
                    <a:pt x="111137" y="254966"/>
                  </a:lnTo>
                  <a:lnTo>
                    <a:pt x="199605" y="254966"/>
                  </a:lnTo>
                  <a:lnTo>
                    <a:pt x="217302" y="220669"/>
                  </a:lnTo>
                  <a:lnTo>
                    <a:pt x="223438" y="167282"/>
                  </a:lnTo>
                  <a:lnTo>
                    <a:pt x="223438" y="4994"/>
                  </a:lnTo>
                  <a:close/>
                </a:path>
                <a:path w="1243330" h="288925">
                  <a:moveTo>
                    <a:pt x="313037" y="4994"/>
                  </a:moveTo>
                  <a:lnTo>
                    <a:pt x="273813" y="4994"/>
                  </a:lnTo>
                  <a:lnTo>
                    <a:pt x="273813" y="283802"/>
                  </a:lnTo>
                  <a:lnTo>
                    <a:pt x="313037" y="283802"/>
                  </a:lnTo>
                  <a:lnTo>
                    <a:pt x="313037" y="196130"/>
                  </a:lnTo>
                  <a:lnTo>
                    <a:pt x="356879" y="147670"/>
                  </a:lnTo>
                  <a:lnTo>
                    <a:pt x="403714" y="147670"/>
                  </a:lnTo>
                  <a:lnTo>
                    <a:pt x="402092" y="145367"/>
                  </a:lnTo>
                  <a:lnTo>
                    <a:pt x="313037" y="145367"/>
                  </a:lnTo>
                  <a:lnTo>
                    <a:pt x="313037" y="4994"/>
                  </a:lnTo>
                  <a:close/>
                </a:path>
                <a:path w="1243330" h="288925">
                  <a:moveTo>
                    <a:pt x="403714" y="147670"/>
                  </a:moveTo>
                  <a:lnTo>
                    <a:pt x="356879" y="147670"/>
                  </a:lnTo>
                  <a:lnTo>
                    <a:pt x="452635" y="283802"/>
                  </a:lnTo>
                  <a:lnTo>
                    <a:pt x="499555" y="283802"/>
                  </a:lnTo>
                  <a:lnTo>
                    <a:pt x="403714" y="147670"/>
                  </a:lnTo>
                  <a:close/>
                </a:path>
                <a:path w="1243330" h="288925">
                  <a:moveTo>
                    <a:pt x="487639" y="4994"/>
                  </a:moveTo>
                  <a:lnTo>
                    <a:pt x="438792" y="4994"/>
                  </a:lnTo>
                  <a:lnTo>
                    <a:pt x="313037" y="145367"/>
                  </a:lnTo>
                  <a:lnTo>
                    <a:pt x="402092" y="145367"/>
                  </a:lnTo>
                  <a:lnTo>
                    <a:pt x="383412" y="118834"/>
                  </a:lnTo>
                  <a:lnTo>
                    <a:pt x="487639" y="4994"/>
                  </a:lnTo>
                  <a:close/>
                </a:path>
                <a:path w="1243330" h="288925">
                  <a:moveTo>
                    <a:pt x="630692" y="0"/>
                  </a:moveTo>
                  <a:lnTo>
                    <a:pt x="587086" y="6688"/>
                  </a:lnTo>
                  <a:lnTo>
                    <a:pt x="551180" y="25818"/>
                  </a:lnTo>
                  <a:lnTo>
                    <a:pt x="524117" y="55986"/>
                  </a:lnTo>
                  <a:lnTo>
                    <a:pt x="507040" y="95790"/>
                  </a:lnTo>
                  <a:lnTo>
                    <a:pt x="501094" y="143828"/>
                  </a:lnTo>
                  <a:lnTo>
                    <a:pt x="506546" y="191167"/>
                  </a:lnTo>
                  <a:lnTo>
                    <a:pt x="506572" y="191394"/>
                  </a:lnTo>
                  <a:lnTo>
                    <a:pt x="522590" y="231410"/>
                  </a:lnTo>
                  <a:lnTo>
                    <a:pt x="548520" y="262141"/>
                  </a:lnTo>
                  <a:lnTo>
                    <a:pt x="583737" y="281852"/>
                  </a:lnTo>
                  <a:lnTo>
                    <a:pt x="627614" y="288807"/>
                  </a:lnTo>
                  <a:lnTo>
                    <a:pt x="670222" y="282799"/>
                  </a:lnTo>
                  <a:lnTo>
                    <a:pt x="706016" y="264965"/>
                  </a:lnTo>
                  <a:lnTo>
                    <a:pt x="714428" y="255740"/>
                  </a:lnTo>
                  <a:lnTo>
                    <a:pt x="629917" y="255740"/>
                  </a:lnTo>
                  <a:lnTo>
                    <a:pt x="594136" y="248205"/>
                  </a:lnTo>
                  <a:lnTo>
                    <a:pt x="566032" y="226320"/>
                  </a:lnTo>
                  <a:lnTo>
                    <a:pt x="547781" y="191394"/>
                  </a:lnTo>
                  <a:lnTo>
                    <a:pt x="547662" y="191167"/>
                  </a:lnTo>
                  <a:lnTo>
                    <a:pt x="541083" y="143828"/>
                  </a:lnTo>
                  <a:lnTo>
                    <a:pt x="547861" y="96019"/>
                  </a:lnTo>
                  <a:lnTo>
                    <a:pt x="566465" y="61334"/>
                  </a:lnTo>
                  <a:lnTo>
                    <a:pt x="594299" y="40206"/>
                  </a:lnTo>
                  <a:lnTo>
                    <a:pt x="628766" y="33067"/>
                  </a:lnTo>
                  <a:lnTo>
                    <a:pt x="713229" y="33067"/>
                  </a:lnTo>
                  <a:lnTo>
                    <a:pt x="705776" y="24564"/>
                  </a:lnTo>
                  <a:lnTo>
                    <a:pt x="671443" y="6279"/>
                  </a:lnTo>
                  <a:lnTo>
                    <a:pt x="630692" y="0"/>
                  </a:lnTo>
                  <a:close/>
                </a:path>
                <a:path w="1243330" h="288925">
                  <a:moveTo>
                    <a:pt x="748364" y="194978"/>
                  </a:moveTo>
                  <a:lnTo>
                    <a:pt x="710292" y="194978"/>
                  </a:lnTo>
                  <a:lnTo>
                    <a:pt x="700279" y="219557"/>
                  </a:lnTo>
                  <a:lnTo>
                    <a:pt x="683522" y="238768"/>
                  </a:lnTo>
                  <a:lnTo>
                    <a:pt x="660056" y="251275"/>
                  </a:lnTo>
                  <a:lnTo>
                    <a:pt x="629917" y="255740"/>
                  </a:lnTo>
                  <a:lnTo>
                    <a:pt x="714428" y="255740"/>
                  </a:lnTo>
                  <a:lnTo>
                    <a:pt x="732797" y="235595"/>
                  </a:lnTo>
                  <a:lnTo>
                    <a:pt x="748364" y="194978"/>
                  </a:lnTo>
                  <a:close/>
                </a:path>
                <a:path w="1243330" h="288925">
                  <a:moveTo>
                    <a:pt x="713229" y="33067"/>
                  </a:moveTo>
                  <a:lnTo>
                    <a:pt x="628766" y="33067"/>
                  </a:lnTo>
                  <a:lnTo>
                    <a:pt x="658788" y="37640"/>
                  </a:lnTo>
                  <a:lnTo>
                    <a:pt x="682318" y="50325"/>
                  </a:lnTo>
                  <a:lnTo>
                    <a:pt x="699069" y="69572"/>
                  </a:lnTo>
                  <a:lnTo>
                    <a:pt x="708753" y="93829"/>
                  </a:lnTo>
                  <a:lnTo>
                    <a:pt x="746825" y="93829"/>
                  </a:lnTo>
                  <a:lnTo>
                    <a:pt x="731601" y="54024"/>
                  </a:lnTo>
                  <a:lnTo>
                    <a:pt x="713229" y="33067"/>
                  </a:lnTo>
                  <a:close/>
                </a:path>
                <a:path w="1243330" h="288925">
                  <a:moveTo>
                    <a:pt x="975268" y="4994"/>
                  </a:moveTo>
                  <a:lnTo>
                    <a:pt x="786059" y="4994"/>
                  </a:lnTo>
                  <a:lnTo>
                    <a:pt x="786059" y="283802"/>
                  </a:lnTo>
                  <a:lnTo>
                    <a:pt x="975268" y="283802"/>
                  </a:lnTo>
                  <a:lnTo>
                    <a:pt x="975268" y="249971"/>
                  </a:lnTo>
                  <a:lnTo>
                    <a:pt x="825283" y="249971"/>
                  </a:lnTo>
                  <a:lnTo>
                    <a:pt x="825283" y="157283"/>
                  </a:lnTo>
                  <a:lnTo>
                    <a:pt x="966420" y="157283"/>
                  </a:lnTo>
                  <a:lnTo>
                    <a:pt x="966420" y="123441"/>
                  </a:lnTo>
                  <a:lnTo>
                    <a:pt x="825283" y="123441"/>
                  </a:lnTo>
                  <a:lnTo>
                    <a:pt x="825283" y="38836"/>
                  </a:lnTo>
                  <a:lnTo>
                    <a:pt x="975268" y="38836"/>
                  </a:lnTo>
                  <a:lnTo>
                    <a:pt x="975268" y="4994"/>
                  </a:lnTo>
                  <a:close/>
                </a:path>
                <a:path w="1243330" h="288925">
                  <a:moveTo>
                    <a:pt x="1057171" y="4994"/>
                  </a:moveTo>
                  <a:lnTo>
                    <a:pt x="1017948" y="4994"/>
                  </a:lnTo>
                  <a:lnTo>
                    <a:pt x="1017948" y="283802"/>
                  </a:lnTo>
                  <a:lnTo>
                    <a:pt x="1057171" y="283802"/>
                  </a:lnTo>
                  <a:lnTo>
                    <a:pt x="1057171" y="157283"/>
                  </a:lnTo>
                  <a:lnTo>
                    <a:pt x="1242925" y="157283"/>
                  </a:lnTo>
                  <a:lnTo>
                    <a:pt x="1242925" y="123441"/>
                  </a:lnTo>
                  <a:lnTo>
                    <a:pt x="1057171" y="123441"/>
                  </a:lnTo>
                  <a:lnTo>
                    <a:pt x="1057171" y="4994"/>
                  </a:lnTo>
                  <a:close/>
                </a:path>
                <a:path w="1243330" h="288925">
                  <a:moveTo>
                    <a:pt x="1242925" y="157283"/>
                  </a:moveTo>
                  <a:lnTo>
                    <a:pt x="1203701" y="157283"/>
                  </a:lnTo>
                  <a:lnTo>
                    <a:pt x="1203701" y="283802"/>
                  </a:lnTo>
                  <a:lnTo>
                    <a:pt x="1242925" y="283802"/>
                  </a:lnTo>
                  <a:lnTo>
                    <a:pt x="1242925" y="157283"/>
                  </a:lnTo>
                  <a:close/>
                </a:path>
                <a:path w="1243330" h="288925">
                  <a:moveTo>
                    <a:pt x="1242925" y="4994"/>
                  </a:moveTo>
                  <a:lnTo>
                    <a:pt x="1203701" y="4994"/>
                  </a:lnTo>
                  <a:lnTo>
                    <a:pt x="1203701" y="123441"/>
                  </a:lnTo>
                  <a:lnTo>
                    <a:pt x="1242925" y="123441"/>
                  </a:lnTo>
                  <a:lnTo>
                    <a:pt x="1242925" y="4994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9">
              <a:extLst>
                <a:ext uri="{FF2B5EF4-FFF2-40B4-BE49-F238E27FC236}">
                  <a16:creationId xmlns:a16="http://schemas.microsoft.com/office/drawing/2014/main" id="{CE2579DF-0B30-705B-C8FD-25AF551B5F6A}"/>
                </a:ext>
              </a:extLst>
            </p:cNvPr>
            <p:cNvSpPr/>
            <p:nvPr userDrawn="1"/>
          </p:nvSpPr>
          <p:spPr>
            <a:xfrm>
              <a:off x="143595" y="135785"/>
              <a:ext cx="288028" cy="288028"/>
            </a:xfrm>
            <a:custGeom>
              <a:avLst/>
              <a:gdLst/>
              <a:ahLst/>
              <a:cxnLst/>
              <a:rect l="l" t="t" r="r" b="b"/>
              <a:pathLst>
                <a:path w="474980" h="474980">
                  <a:moveTo>
                    <a:pt x="62826" y="237299"/>
                  </a:moveTo>
                  <a:lnTo>
                    <a:pt x="60350" y="225069"/>
                  </a:lnTo>
                  <a:lnTo>
                    <a:pt x="53619" y="215087"/>
                  </a:lnTo>
                  <a:lnTo>
                    <a:pt x="43637" y="208356"/>
                  </a:lnTo>
                  <a:lnTo>
                    <a:pt x="31407" y="205879"/>
                  </a:lnTo>
                  <a:lnTo>
                    <a:pt x="19177" y="208356"/>
                  </a:lnTo>
                  <a:lnTo>
                    <a:pt x="9194" y="215087"/>
                  </a:lnTo>
                  <a:lnTo>
                    <a:pt x="2463" y="225069"/>
                  </a:lnTo>
                  <a:lnTo>
                    <a:pt x="0" y="237299"/>
                  </a:lnTo>
                  <a:lnTo>
                    <a:pt x="2463" y="249516"/>
                  </a:lnTo>
                  <a:lnTo>
                    <a:pt x="9194" y="259499"/>
                  </a:lnTo>
                  <a:lnTo>
                    <a:pt x="19177" y="266230"/>
                  </a:lnTo>
                  <a:lnTo>
                    <a:pt x="31407" y="268693"/>
                  </a:lnTo>
                  <a:lnTo>
                    <a:pt x="43637" y="266230"/>
                  </a:lnTo>
                  <a:lnTo>
                    <a:pt x="53619" y="259499"/>
                  </a:lnTo>
                  <a:lnTo>
                    <a:pt x="60350" y="249516"/>
                  </a:lnTo>
                  <a:lnTo>
                    <a:pt x="62826" y="237299"/>
                  </a:lnTo>
                  <a:close/>
                </a:path>
                <a:path w="474980" h="474980">
                  <a:moveTo>
                    <a:pt x="90170" y="336346"/>
                  </a:moveTo>
                  <a:lnTo>
                    <a:pt x="86194" y="324523"/>
                  </a:lnTo>
                  <a:lnTo>
                    <a:pt x="77939" y="315175"/>
                  </a:lnTo>
                  <a:lnTo>
                    <a:pt x="67119" y="309892"/>
                  </a:lnTo>
                  <a:lnTo>
                    <a:pt x="55118" y="309054"/>
                  </a:lnTo>
                  <a:lnTo>
                    <a:pt x="43294" y="313029"/>
                  </a:lnTo>
                  <a:lnTo>
                    <a:pt x="33934" y="321284"/>
                  </a:lnTo>
                  <a:lnTo>
                    <a:pt x="28651" y="332105"/>
                  </a:lnTo>
                  <a:lnTo>
                    <a:pt x="27813" y="344106"/>
                  </a:lnTo>
                  <a:lnTo>
                    <a:pt x="31788" y="355930"/>
                  </a:lnTo>
                  <a:lnTo>
                    <a:pt x="40043" y="365290"/>
                  </a:lnTo>
                  <a:lnTo>
                    <a:pt x="50863" y="370560"/>
                  </a:lnTo>
                  <a:lnTo>
                    <a:pt x="62877" y="371398"/>
                  </a:lnTo>
                  <a:lnTo>
                    <a:pt x="74701" y="367423"/>
                  </a:lnTo>
                  <a:lnTo>
                    <a:pt x="84048" y="359181"/>
                  </a:lnTo>
                  <a:lnTo>
                    <a:pt x="89331" y="348361"/>
                  </a:lnTo>
                  <a:lnTo>
                    <a:pt x="90170" y="336346"/>
                  </a:lnTo>
                  <a:close/>
                </a:path>
                <a:path w="474980" h="474980">
                  <a:moveTo>
                    <a:pt x="90170" y="138239"/>
                  </a:moveTo>
                  <a:lnTo>
                    <a:pt x="89331" y="126225"/>
                  </a:lnTo>
                  <a:lnTo>
                    <a:pt x="84048" y="115404"/>
                  </a:lnTo>
                  <a:lnTo>
                    <a:pt x="74701" y="107149"/>
                  </a:lnTo>
                  <a:lnTo>
                    <a:pt x="62877" y="103174"/>
                  </a:lnTo>
                  <a:lnTo>
                    <a:pt x="50863" y="104013"/>
                  </a:lnTo>
                  <a:lnTo>
                    <a:pt x="40043" y="109296"/>
                  </a:lnTo>
                  <a:lnTo>
                    <a:pt x="31800" y="118656"/>
                  </a:lnTo>
                  <a:lnTo>
                    <a:pt x="27813" y="130479"/>
                  </a:lnTo>
                  <a:lnTo>
                    <a:pt x="28651" y="142481"/>
                  </a:lnTo>
                  <a:lnTo>
                    <a:pt x="33934" y="153301"/>
                  </a:lnTo>
                  <a:lnTo>
                    <a:pt x="43281" y="161556"/>
                  </a:lnTo>
                  <a:lnTo>
                    <a:pt x="55105" y="165519"/>
                  </a:lnTo>
                  <a:lnTo>
                    <a:pt x="67119" y="164693"/>
                  </a:lnTo>
                  <a:lnTo>
                    <a:pt x="77939" y="159410"/>
                  </a:lnTo>
                  <a:lnTo>
                    <a:pt x="86194" y="150050"/>
                  </a:lnTo>
                  <a:lnTo>
                    <a:pt x="90170" y="138239"/>
                  </a:lnTo>
                  <a:close/>
                </a:path>
                <a:path w="474980" h="474980">
                  <a:moveTo>
                    <a:pt x="141947" y="237286"/>
                  </a:moveTo>
                  <a:lnTo>
                    <a:pt x="140106" y="228117"/>
                  </a:lnTo>
                  <a:lnTo>
                    <a:pt x="135051" y="220637"/>
                  </a:lnTo>
                  <a:lnTo>
                    <a:pt x="127571" y="215582"/>
                  </a:lnTo>
                  <a:lnTo>
                    <a:pt x="118402" y="213741"/>
                  </a:lnTo>
                  <a:lnTo>
                    <a:pt x="109232" y="215582"/>
                  </a:lnTo>
                  <a:lnTo>
                    <a:pt x="101752" y="220637"/>
                  </a:lnTo>
                  <a:lnTo>
                    <a:pt x="96697" y="228117"/>
                  </a:lnTo>
                  <a:lnTo>
                    <a:pt x="94856" y="237286"/>
                  </a:lnTo>
                  <a:lnTo>
                    <a:pt x="96697" y="246456"/>
                  </a:lnTo>
                  <a:lnTo>
                    <a:pt x="101752" y="253949"/>
                  </a:lnTo>
                  <a:lnTo>
                    <a:pt x="109232" y="258991"/>
                  </a:lnTo>
                  <a:lnTo>
                    <a:pt x="118402" y="260845"/>
                  </a:lnTo>
                  <a:lnTo>
                    <a:pt x="127571" y="258991"/>
                  </a:lnTo>
                  <a:lnTo>
                    <a:pt x="135051" y="253949"/>
                  </a:lnTo>
                  <a:lnTo>
                    <a:pt x="140106" y="246456"/>
                  </a:lnTo>
                  <a:lnTo>
                    <a:pt x="141947" y="237286"/>
                  </a:lnTo>
                  <a:close/>
                </a:path>
                <a:path w="474980" h="474980">
                  <a:moveTo>
                    <a:pt x="165519" y="419468"/>
                  </a:moveTo>
                  <a:lnTo>
                    <a:pt x="164680" y="407454"/>
                  </a:lnTo>
                  <a:lnTo>
                    <a:pt x="159397" y="396633"/>
                  </a:lnTo>
                  <a:lnTo>
                    <a:pt x="150050" y="388378"/>
                  </a:lnTo>
                  <a:lnTo>
                    <a:pt x="138226" y="384403"/>
                  </a:lnTo>
                  <a:lnTo>
                    <a:pt x="126212" y="385241"/>
                  </a:lnTo>
                  <a:lnTo>
                    <a:pt x="115392" y="390525"/>
                  </a:lnTo>
                  <a:lnTo>
                    <a:pt x="107149" y="399884"/>
                  </a:lnTo>
                  <a:lnTo>
                    <a:pt x="103174" y="411708"/>
                  </a:lnTo>
                  <a:lnTo>
                    <a:pt x="104013" y="423710"/>
                  </a:lnTo>
                  <a:lnTo>
                    <a:pt x="109296" y="434530"/>
                  </a:lnTo>
                  <a:lnTo>
                    <a:pt x="118643" y="442785"/>
                  </a:lnTo>
                  <a:lnTo>
                    <a:pt x="130467" y="446760"/>
                  </a:lnTo>
                  <a:lnTo>
                    <a:pt x="142481" y="445922"/>
                  </a:lnTo>
                  <a:lnTo>
                    <a:pt x="153301" y="440639"/>
                  </a:lnTo>
                  <a:lnTo>
                    <a:pt x="161544" y="431292"/>
                  </a:lnTo>
                  <a:lnTo>
                    <a:pt x="165519" y="419468"/>
                  </a:lnTo>
                  <a:close/>
                </a:path>
                <a:path w="474980" h="474980">
                  <a:moveTo>
                    <a:pt x="165519" y="55118"/>
                  </a:moveTo>
                  <a:lnTo>
                    <a:pt x="161544" y="43294"/>
                  </a:lnTo>
                  <a:lnTo>
                    <a:pt x="153301" y="33947"/>
                  </a:lnTo>
                  <a:lnTo>
                    <a:pt x="142481" y="28663"/>
                  </a:lnTo>
                  <a:lnTo>
                    <a:pt x="130467" y="27825"/>
                  </a:lnTo>
                  <a:lnTo>
                    <a:pt x="118643" y="31800"/>
                  </a:lnTo>
                  <a:lnTo>
                    <a:pt x="109296" y="40043"/>
                  </a:lnTo>
                  <a:lnTo>
                    <a:pt x="104013" y="50876"/>
                  </a:lnTo>
                  <a:lnTo>
                    <a:pt x="103174" y="62890"/>
                  </a:lnTo>
                  <a:lnTo>
                    <a:pt x="107149" y="74714"/>
                  </a:lnTo>
                  <a:lnTo>
                    <a:pt x="115404" y="84061"/>
                  </a:lnTo>
                  <a:lnTo>
                    <a:pt x="126212" y="89331"/>
                  </a:lnTo>
                  <a:lnTo>
                    <a:pt x="138226" y="90170"/>
                  </a:lnTo>
                  <a:lnTo>
                    <a:pt x="150050" y="86194"/>
                  </a:lnTo>
                  <a:lnTo>
                    <a:pt x="159410" y="77952"/>
                  </a:lnTo>
                  <a:lnTo>
                    <a:pt x="164680" y="67132"/>
                  </a:lnTo>
                  <a:lnTo>
                    <a:pt x="165519" y="55118"/>
                  </a:lnTo>
                  <a:close/>
                </a:path>
                <a:path w="474980" h="474980">
                  <a:moveTo>
                    <a:pt x="176771" y="321348"/>
                  </a:moveTo>
                  <a:lnTo>
                    <a:pt x="175056" y="312483"/>
                  </a:lnTo>
                  <a:lnTo>
                    <a:pt x="169875" y="304698"/>
                  </a:lnTo>
                  <a:lnTo>
                    <a:pt x="162077" y="299529"/>
                  </a:lnTo>
                  <a:lnTo>
                    <a:pt x="153225" y="297802"/>
                  </a:lnTo>
                  <a:lnTo>
                    <a:pt x="144360" y="299529"/>
                  </a:lnTo>
                  <a:lnTo>
                    <a:pt x="136563" y="304698"/>
                  </a:lnTo>
                  <a:lnTo>
                    <a:pt x="131394" y="312483"/>
                  </a:lnTo>
                  <a:lnTo>
                    <a:pt x="129667" y="321348"/>
                  </a:lnTo>
                  <a:lnTo>
                    <a:pt x="131394" y="330212"/>
                  </a:lnTo>
                  <a:lnTo>
                    <a:pt x="136563" y="338010"/>
                  </a:lnTo>
                  <a:lnTo>
                    <a:pt x="144360" y="343179"/>
                  </a:lnTo>
                  <a:lnTo>
                    <a:pt x="153225" y="344906"/>
                  </a:lnTo>
                  <a:lnTo>
                    <a:pt x="162077" y="343179"/>
                  </a:lnTo>
                  <a:lnTo>
                    <a:pt x="169875" y="338010"/>
                  </a:lnTo>
                  <a:lnTo>
                    <a:pt x="175056" y="330212"/>
                  </a:lnTo>
                  <a:lnTo>
                    <a:pt x="176771" y="321348"/>
                  </a:lnTo>
                  <a:close/>
                </a:path>
                <a:path w="474980" h="474980">
                  <a:moveTo>
                    <a:pt x="176784" y="153225"/>
                  </a:moveTo>
                  <a:lnTo>
                    <a:pt x="175056" y="144360"/>
                  </a:lnTo>
                  <a:lnTo>
                    <a:pt x="169875" y="136575"/>
                  </a:lnTo>
                  <a:lnTo>
                    <a:pt x="162090" y="131394"/>
                  </a:lnTo>
                  <a:lnTo>
                    <a:pt x="153225" y="129679"/>
                  </a:lnTo>
                  <a:lnTo>
                    <a:pt x="144360" y="131394"/>
                  </a:lnTo>
                  <a:lnTo>
                    <a:pt x="136575" y="136575"/>
                  </a:lnTo>
                  <a:lnTo>
                    <a:pt x="131394" y="144360"/>
                  </a:lnTo>
                  <a:lnTo>
                    <a:pt x="129667" y="153225"/>
                  </a:lnTo>
                  <a:lnTo>
                    <a:pt x="131394" y="162090"/>
                  </a:lnTo>
                  <a:lnTo>
                    <a:pt x="136575" y="169875"/>
                  </a:lnTo>
                  <a:lnTo>
                    <a:pt x="144360" y="175056"/>
                  </a:lnTo>
                  <a:lnTo>
                    <a:pt x="153225" y="176784"/>
                  </a:lnTo>
                  <a:lnTo>
                    <a:pt x="162090" y="175056"/>
                  </a:lnTo>
                  <a:lnTo>
                    <a:pt x="169875" y="169875"/>
                  </a:lnTo>
                  <a:lnTo>
                    <a:pt x="175056" y="162090"/>
                  </a:lnTo>
                  <a:lnTo>
                    <a:pt x="176784" y="153225"/>
                  </a:lnTo>
                  <a:close/>
                </a:path>
                <a:path w="474980" h="474980">
                  <a:moveTo>
                    <a:pt x="209016" y="261874"/>
                  </a:moveTo>
                  <a:lnTo>
                    <a:pt x="201853" y="249478"/>
                  </a:lnTo>
                  <a:lnTo>
                    <a:pt x="193941" y="247357"/>
                  </a:lnTo>
                  <a:lnTo>
                    <a:pt x="187744" y="250939"/>
                  </a:lnTo>
                  <a:lnTo>
                    <a:pt x="181546" y="254520"/>
                  </a:lnTo>
                  <a:lnTo>
                    <a:pt x="179412" y="262432"/>
                  </a:lnTo>
                  <a:lnTo>
                    <a:pt x="186575" y="274828"/>
                  </a:lnTo>
                  <a:lnTo>
                    <a:pt x="194500" y="276961"/>
                  </a:lnTo>
                  <a:lnTo>
                    <a:pt x="206895" y="269798"/>
                  </a:lnTo>
                  <a:lnTo>
                    <a:pt x="209016" y="261874"/>
                  </a:lnTo>
                  <a:close/>
                </a:path>
                <a:path w="474980" h="474980">
                  <a:moveTo>
                    <a:pt x="209016" y="212699"/>
                  </a:moveTo>
                  <a:lnTo>
                    <a:pt x="206895" y="204787"/>
                  </a:lnTo>
                  <a:lnTo>
                    <a:pt x="200698" y="201206"/>
                  </a:lnTo>
                  <a:lnTo>
                    <a:pt x="194500" y="197624"/>
                  </a:lnTo>
                  <a:lnTo>
                    <a:pt x="186575" y="199745"/>
                  </a:lnTo>
                  <a:lnTo>
                    <a:pt x="179425" y="212153"/>
                  </a:lnTo>
                  <a:lnTo>
                    <a:pt x="181546" y="220078"/>
                  </a:lnTo>
                  <a:lnTo>
                    <a:pt x="193941" y="227228"/>
                  </a:lnTo>
                  <a:lnTo>
                    <a:pt x="201853" y="225107"/>
                  </a:lnTo>
                  <a:lnTo>
                    <a:pt x="209016" y="212699"/>
                  </a:lnTo>
                  <a:close/>
                </a:path>
                <a:path w="474980" h="474980">
                  <a:moveTo>
                    <a:pt x="250240" y="279869"/>
                  </a:moveTo>
                  <a:lnTo>
                    <a:pt x="244449" y="274066"/>
                  </a:lnTo>
                  <a:lnTo>
                    <a:pt x="230136" y="274066"/>
                  </a:lnTo>
                  <a:lnTo>
                    <a:pt x="224332" y="279869"/>
                  </a:lnTo>
                  <a:lnTo>
                    <a:pt x="224332" y="287020"/>
                  </a:lnTo>
                  <a:lnTo>
                    <a:pt x="224332" y="294170"/>
                  </a:lnTo>
                  <a:lnTo>
                    <a:pt x="230136" y="299974"/>
                  </a:lnTo>
                  <a:lnTo>
                    <a:pt x="244449" y="299974"/>
                  </a:lnTo>
                  <a:lnTo>
                    <a:pt x="250240" y="294170"/>
                  </a:lnTo>
                  <a:lnTo>
                    <a:pt x="250240" y="279869"/>
                  </a:lnTo>
                  <a:close/>
                </a:path>
                <a:path w="474980" h="474980">
                  <a:moveTo>
                    <a:pt x="250240" y="180416"/>
                  </a:moveTo>
                  <a:lnTo>
                    <a:pt x="244436" y="174612"/>
                  </a:lnTo>
                  <a:lnTo>
                    <a:pt x="230124" y="174612"/>
                  </a:lnTo>
                  <a:lnTo>
                    <a:pt x="224332" y="180416"/>
                  </a:lnTo>
                  <a:lnTo>
                    <a:pt x="224332" y="194716"/>
                  </a:lnTo>
                  <a:lnTo>
                    <a:pt x="230124" y="200520"/>
                  </a:lnTo>
                  <a:lnTo>
                    <a:pt x="244436" y="200520"/>
                  </a:lnTo>
                  <a:lnTo>
                    <a:pt x="250240" y="194716"/>
                  </a:lnTo>
                  <a:lnTo>
                    <a:pt x="250240" y="187566"/>
                  </a:lnTo>
                  <a:lnTo>
                    <a:pt x="250240" y="180416"/>
                  </a:lnTo>
                  <a:close/>
                </a:path>
                <a:path w="474980" h="474980">
                  <a:moveTo>
                    <a:pt x="260832" y="356171"/>
                  </a:moveTo>
                  <a:lnTo>
                    <a:pt x="258991" y="347002"/>
                  </a:lnTo>
                  <a:lnTo>
                    <a:pt x="253936" y="339521"/>
                  </a:lnTo>
                  <a:lnTo>
                    <a:pt x="246456" y="334479"/>
                  </a:lnTo>
                  <a:lnTo>
                    <a:pt x="237274" y="332625"/>
                  </a:lnTo>
                  <a:lnTo>
                    <a:pt x="228117" y="334479"/>
                  </a:lnTo>
                  <a:lnTo>
                    <a:pt x="220624" y="339521"/>
                  </a:lnTo>
                  <a:lnTo>
                    <a:pt x="215582" y="347002"/>
                  </a:lnTo>
                  <a:lnTo>
                    <a:pt x="213728" y="356171"/>
                  </a:lnTo>
                  <a:lnTo>
                    <a:pt x="215582" y="365340"/>
                  </a:lnTo>
                  <a:lnTo>
                    <a:pt x="220624" y="372833"/>
                  </a:lnTo>
                  <a:lnTo>
                    <a:pt x="228117" y="377875"/>
                  </a:lnTo>
                  <a:lnTo>
                    <a:pt x="237274" y="379717"/>
                  </a:lnTo>
                  <a:lnTo>
                    <a:pt x="246456" y="377875"/>
                  </a:lnTo>
                  <a:lnTo>
                    <a:pt x="253936" y="372833"/>
                  </a:lnTo>
                  <a:lnTo>
                    <a:pt x="258991" y="365340"/>
                  </a:lnTo>
                  <a:lnTo>
                    <a:pt x="260832" y="356171"/>
                  </a:lnTo>
                  <a:close/>
                </a:path>
                <a:path w="474980" h="474980">
                  <a:moveTo>
                    <a:pt x="260845" y="118402"/>
                  </a:moveTo>
                  <a:lnTo>
                    <a:pt x="258991" y="109245"/>
                  </a:lnTo>
                  <a:lnTo>
                    <a:pt x="253936" y="101752"/>
                  </a:lnTo>
                  <a:lnTo>
                    <a:pt x="246456" y="96710"/>
                  </a:lnTo>
                  <a:lnTo>
                    <a:pt x="237286" y="94856"/>
                  </a:lnTo>
                  <a:lnTo>
                    <a:pt x="228117" y="96710"/>
                  </a:lnTo>
                  <a:lnTo>
                    <a:pt x="220637" y="101752"/>
                  </a:lnTo>
                  <a:lnTo>
                    <a:pt x="215582" y="109245"/>
                  </a:lnTo>
                  <a:lnTo>
                    <a:pt x="213728" y="118402"/>
                  </a:lnTo>
                  <a:lnTo>
                    <a:pt x="215582" y="127584"/>
                  </a:lnTo>
                  <a:lnTo>
                    <a:pt x="220637" y="135064"/>
                  </a:lnTo>
                  <a:lnTo>
                    <a:pt x="228117" y="140119"/>
                  </a:lnTo>
                  <a:lnTo>
                    <a:pt x="237286" y="141960"/>
                  </a:lnTo>
                  <a:lnTo>
                    <a:pt x="246456" y="140119"/>
                  </a:lnTo>
                  <a:lnTo>
                    <a:pt x="253936" y="135064"/>
                  </a:lnTo>
                  <a:lnTo>
                    <a:pt x="258991" y="127584"/>
                  </a:lnTo>
                  <a:lnTo>
                    <a:pt x="260845" y="118402"/>
                  </a:lnTo>
                  <a:close/>
                </a:path>
                <a:path w="474980" h="474980">
                  <a:moveTo>
                    <a:pt x="268693" y="443166"/>
                  </a:moveTo>
                  <a:lnTo>
                    <a:pt x="266230" y="430936"/>
                  </a:lnTo>
                  <a:lnTo>
                    <a:pt x="259499" y="420954"/>
                  </a:lnTo>
                  <a:lnTo>
                    <a:pt x="249516" y="414223"/>
                  </a:lnTo>
                  <a:lnTo>
                    <a:pt x="237286" y="411746"/>
                  </a:lnTo>
                  <a:lnTo>
                    <a:pt x="225069" y="414223"/>
                  </a:lnTo>
                  <a:lnTo>
                    <a:pt x="215074" y="420954"/>
                  </a:lnTo>
                  <a:lnTo>
                    <a:pt x="208343" y="430936"/>
                  </a:lnTo>
                  <a:lnTo>
                    <a:pt x="205879" y="443166"/>
                  </a:lnTo>
                  <a:lnTo>
                    <a:pt x="208343" y="455396"/>
                  </a:lnTo>
                  <a:lnTo>
                    <a:pt x="215074" y="465378"/>
                  </a:lnTo>
                  <a:lnTo>
                    <a:pt x="225069" y="472109"/>
                  </a:lnTo>
                  <a:lnTo>
                    <a:pt x="237286" y="474573"/>
                  </a:lnTo>
                  <a:lnTo>
                    <a:pt x="249516" y="472109"/>
                  </a:lnTo>
                  <a:lnTo>
                    <a:pt x="259499" y="465378"/>
                  </a:lnTo>
                  <a:lnTo>
                    <a:pt x="266230" y="455396"/>
                  </a:lnTo>
                  <a:lnTo>
                    <a:pt x="268693" y="443166"/>
                  </a:lnTo>
                  <a:close/>
                </a:path>
                <a:path w="474980" h="474980">
                  <a:moveTo>
                    <a:pt x="268693" y="31419"/>
                  </a:moveTo>
                  <a:lnTo>
                    <a:pt x="266230" y="19189"/>
                  </a:lnTo>
                  <a:lnTo>
                    <a:pt x="259486" y="9207"/>
                  </a:lnTo>
                  <a:lnTo>
                    <a:pt x="249504" y="2476"/>
                  </a:lnTo>
                  <a:lnTo>
                    <a:pt x="237274" y="0"/>
                  </a:lnTo>
                  <a:lnTo>
                    <a:pt x="225056" y="2476"/>
                  </a:lnTo>
                  <a:lnTo>
                    <a:pt x="215074" y="9207"/>
                  </a:lnTo>
                  <a:lnTo>
                    <a:pt x="208343" y="19189"/>
                  </a:lnTo>
                  <a:lnTo>
                    <a:pt x="205879" y="31419"/>
                  </a:lnTo>
                  <a:lnTo>
                    <a:pt x="208343" y="43649"/>
                  </a:lnTo>
                  <a:lnTo>
                    <a:pt x="215074" y="53632"/>
                  </a:lnTo>
                  <a:lnTo>
                    <a:pt x="225056" y="60363"/>
                  </a:lnTo>
                  <a:lnTo>
                    <a:pt x="237274" y="62826"/>
                  </a:lnTo>
                  <a:lnTo>
                    <a:pt x="249504" y="60363"/>
                  </a:lnTo>
                  <a:lnTo>
                    <a:pt x="259486" y="53632"/>
                  </a:lnTo>
                  <a:lnTo>
                    <a:pt x="266230" y="43649"/>
                  </a:lnTo>
                  <a:lnTo>
                    <a:pt x="268693" y="31419"/>
                  </a:lnTo>
                  <a:close/>
                </a:path>
                <a:path w="474980" h="474980">
                  <a:moveTo>
                    <a:pt x="295148" y="262432"/>
                  </a:moveTo>
                  <a:lnTo>
                    <a:pt x="293027" y="254508"/>
                  </a:lnTo>
                  <a:lnTo>
                    <a:pt x="280631" y="247357"/>
                  </a:lnTo>
                  <a:lnTo>
                    <a:pt x="272707" y="249478"/>
                  </a:lnTo>
                  <a:lnTo>
                    <a:pt x="265544" y="261874"/>
                  </a:lnTo>
                  <a:lnTo>
                    <a:pt x="267677" y="269798"/>
                  </a:lnTo>
                  <a:lnTo>
                    <a:pt x="273875" y="273380"/>
                  </a:lnTo>
                  <a:lnTo>
                    <a:pt x="280073" y="276961"/>
                  </a:lnTo>
                  <a:lnTo>
                    <a:pt x="287985" y="274828"/>
                  </a:lnTo>
                  <a:lnTo>
                    <a:pt x="295148" y="262432"/>
                  </a:lnTo>
                  <a:close/>
                </a:path>
                <a:path w="474980" h="474980">
                  <a:moveTo>
                    <a:pt x="295148" y="212153"/>
                  </a:moveTo>
                  <a:lnTo>
                    <a:pt x="287985" y="199758"/>
                  </a:lnTo>
                  <a:lnTo>
                    <a:pt x="280073" y="197624"/>
                  </a:lnTo>
                  <a:lnTo>
                    <a:pt x="267677" y="204774"/>
                  </a:lnTo>
                  <a:lnTo>
                    <a:pt x="265557" y="212699"/>
                  </a:lnTo>
                  <a:lnTo>
                    <a:pt x="272707" y="225107"/>
                  </a:lnTo>
                  <a:lnTo>
                    <a:pt x="280631" y="227228"/>
                  </a:lnTo>
                  <a:lnTo>
                    <a:pt x="286829" y="223647"/>
                  </a:lnTo>
                  <a:lnTo>
                    <a:pt x="293027" y="220065"/>
                  </a:lnTo>
                  <a:lnTo>
                    <a:pt x="295148" y="212153"/>
                  </a:lnTo>
                  <a:close/>
                </a:path>
                <a:path w="474980" h="474980">
                  <a:moveTo>
                    <a:pt x="344893" y="153225"/>
                  </a:moveTo>
                  <a:lnTo>
                    <a:pt x="343179" y="144360"/>
                  </a:lnTo>
                  <a:lnTo>
                    <a:pt x="338010" y="136575"/>
                  </a:lnTo>
                  <a:lnTo>
                    <a:pt x="330212" y="131394"/>
                  </a:lnTo>
                  <a:lnTo>
                    <a:pt x="321348" y="129667"/>
                  </a:lnTo>
                  <a:lnTo>
                    <a:pt x="312483" y="131394"/>
                  </a:lnTo>
                  <a:lnTo>
                    <a:pt x="304698" y="136575"/>
                  </a:lnTo>
                  <a:lnTo>
                    <a:pt x="299516" y="144360"/>
                  </a:lnTo>
                  <a:lnTo>
                    <a:pt x="297789" y="153225"/>
                  </a:lnTo>
                  <a:lnTo>
                    <a:pt x="299516" y="162090"/>
                  </a:lnTo>
                  <a:lnTo>
                    <a:pt x="304698" y="169887"/>
                  </a:lnTo>
                  <a:lnTo>
                    <a:pt x="312483" y="175056"/>
                  </a:lnTo>
                  <a:lnTo>
                    <a:pt x="321348" y="176784"/>
                  </a:lnTo>
                  <a:lnTo>
                    <a:pt x="330212" y="175056"/>
                  </a:lnTo>
                  <a:lnTo>
                    <a:pt x="338010" y="169887"/>
                  </a:lnTo>
                  <a:lnTo>
                    <a:pt x="343179" y="162090"/>
                  </a:lnTo>
                  <a:lnTo>
                    <a:pt x="344893" y="153225"/>
                  </a:lnTo>
                  <a:close/>
                </a:path>
                <a:path w="474980" h="474980">
                  <a:moveTo>
                    <a:pt x="344906" y="321348"/>
                  </a:moveTo>
                  <a:lnTo>
                    <a:pt x="343179" y="312496"/>
                  </a:lnTo>
                  <a:lnTo>
                    <a:pt x="337997" y="304698"/>
                  </a:lnTo>
                  <a:lnTo>
                    <a:pt x="330212" y="299529"/>
                  </a:lnTo>
                  <a:lnTo>
                    <a:pt x="321348" y="297802"/>
                  </a:lnTo>
                  <a:lnTo>
                    <a:pt x="312483" y="299529"/>
                  </a:lnTo>
                  <a:lnTo>
                    <a:pt x="304698" y="304698"/>
                  </a:lnTo>
                  <a:lnTo>
                    <a:pt x="299516" y="312496"/>
                  </a:lnTo>
                  <a:lnTo>
                    <a:pt x="297802" y="321348"/>
                  </a:lnTo>
                  <a:lnTo>
                    <a:pt x="299516" y="330212"/>
                  </a:lnTo>
                  <a:lnTo>
                    <a:pt x="304698" y="338010"/>
                  </a:lnTo>
                  <a:lnTo>
                    <a:pt x="312483" y="343179"/>
                  </a:lnTo>
                  <a:lnTo>
                    <a:pt x="321348" y="344906"/>
                  </a:lnTo>
                  <a:lnTo>
                    <a:pt x="330212" y="343179"/>
                  </a:lnTo>
                  <a:lnTo>
                    <a:pt x="337997" y="338010"/>
                  </a:lnTo>
                  <a:lnTo>
                    <a:pt x="343179" y="330212"/>
                  </a:lnTo>
                  <a:lnTo>
                    <a:pt x="344906" y="321348"/>
                  </a:lnTo>
                  <a:close/>
                </a:path>
                <a:path w="474980" h="474980">
                  <a:moveTo>
                    <a:pt x="371398" y="411695"/>
                  </a:moveTo>
                  <a:lnTo>
                    <a:pt x="367423" y="399872"/>
                  </a:lnTo>
                  <a:lnTo>
                    <a:pt x="359168" y="390525"/>
                  </a:lnTo>
                  <a:lnTo>
                    <a:pt x="348348" y="385241"/>
                  </a:lnTo>
                  <a:lnTo>
                    <a:pt x="336346" y="384403"/>
                  </a:lnTo>
                  <a:lnTo>
                    <a:pt x="324523" y="388391"/>
                  </a:lnTo>
                  <a:lnTo>
                    <a:pt x="315163" y="396633"/>
                  </a:lnTo>
                  <a:lnTo>
                    <a:pt x="309880" y="407454"/>
                  </a:lnTo>
                  <a:lnTo>
                    <a:pt x="309054" y="419468"/>
                  </a:lnTo>
                  <a:lnTo>
                    <a:pt x="313016" y="431292"/>
                  </a:lnTo>
                  <a:lnTo>
                    <a:pt x="321271" y="440639"/>
                  </a:lnTo>
                  <a:lnTo>
                    <a:pt x="332092" y="445922"/>
                  </a:lnTo>
                  <a:lnTo>
                    <a:pt x="344106" y="446760"/>
                  </a:lnTo>
                  <a:lnTo>
                    <a:pt x="355917" y="442785"/>
                  </a:lnTo>
                  <a:lnTo>
                    <a:pt x="365277" y="434530"/>
                  </a:lnTo>
                  <a:lnTo>
                    <a:pt x="370560" y="423710"/>
                  </a:lnTo>
                  <a:lnTo>
                    <a:pt x="371398" y="411695"/>
                  </a:lnTo>
                  <a:close/>
                </a:path>
                <a:path w="474980" h="474980">
                  <a:moveTo>
                    <a:pt x="371398" y="62877"/>
                  </a:moveTo>
                  <a:lnTo>
                    <a:pt x="370560" y="50863"/>
                  </a:lnTo>
                  <a:lnTo>
                    <a:pt x="365277" y="40055"/>
                  </a:lnTo>
                  <a:lnTo>
                    <a:pt x="355930" y="31800"/>
                  </a:lnTo>
                  <a:lnTo>
                    <a:pt x="344106" y="27825"/>
                  </a:lnTo>
                  <a:lnTo>
                    <a:pt x="332092" y="28663"/>
                  </a:lnTo>
                  <a:lnTo>
                    <a:pt x="321271" y="33934"/>
                  </a:lnTo>
                  <a:lnTo>
                    <a:pt x="313029" y="43294"/>
                  </a:lnTo>
                  <a:lnTo>
                    <a:pt x="309054" y="55118"/>
                  </a:lnTo>
                  <a:lnTo>
                    <a:pt x="309892" y="67132"/>
                  </a:lnTo>
                  <a:lnTo>
                    <a:pt x="315163" y="77952"/>
                  </a:lnTo>
                  <a:lnTo>
                    <a:pt x="324523" y="86194"/>
                  </a:lnTo>
                  <a:lnTo>
                    <a:pt x="336346" y="90170"/>
                  </a:lnTo>
                  <a:lnTo>
                    <a:pt x="348348" y="89331"/>
                  </a:lnTo>
                  <a:lnTo>
                    <a:pt x="359168" y="84061"/>
                  </a:lnTo>
                  <a:lnTo>
                    <a:pt x="367423" y="74701"/>
                  </a:lnTo>
                  <a:lnTo>
                    <a:pt x="371398" y="62877"/>
                  </a:lnTo>
                  <a:close/>
                </a:path>
                <a:path w="474980" h="474980">
                  <a:moveTo>
                    <a:pt x="379717" y="237286"/>
                  </a:moveTo>
                  <a:lnTo>
                    <a:pt x="377863" y="228117"/>
                  </a:lnTo>
                  <a:lnTo>
                    <a:pt x="372821" y="220637"/>
                  </a:lnTo>
                  <a:lnTo>
                    <a:pt x="365340" y="215582"/>
                  </a:lnTo>
                  <a:lnTo>
                    <a:pt x="356171" y="213741"/>
                  </a:lnTo>
                  <a:lnTo>
                    <a:pt x="347002" y="215582"/>
                  </a:lnTo>
                  <a:lnTo>
                    <a:pt x="339509" y="220637"/>
                  </a:lnTo>
                  <a:lnTo>
                    <a:pt x="334467" y="228117"/>
                  </a:lnTo>
                  <a:lnTo>
                    <a:pt x="332625" y="237286"/>
                  </a:lnTo>
                  <a:lnTo>
                    <a:pt x="334467" y="246456"/>
                  </a:lnTo>
                  <a:lnTo>
                    <a:pt x="339509" y="253949"/>
                  </a:lnTo>
                  <a:lnTo>
                    <a:pt x="347002" y="258991"/>
                  </a:lnTo>
                  <a:lnTo>
                    <a:pt x="356171" y="260845"/>
                  </a:lnTo>
                  <a:lnTo>
                    <a:pt x="365340" y="258991"/>
                  </a:lnTo>
                  <a:lnTo>
                    <a:pt x="372821" y="253949"/>
                  </a:lnTo>
                  <a:lnTo>
                    <a:pt x="377863" y="246456"/>
                  </a:lnTo>
                  <a:lnTo>
                    <a:pt x="379717" y="237286"/>
                  </a:lnTo>
                  <a:close/>
                </a:path>
                <a:path w="474980" h="474980">
                  <a:moveTo>
                    <a:pt x="446747" y="344106"/>
                  </a:moveTo>
                  <a:lnTo>
                    <a:pt x="445909" y="332092"/>
                  </a:lnTo>
                  <a:lnTo>
                    <a:pt x="440639" y="321284"/>
                  </a:lnTo>
                  <a:lnTo>
                    <a:pt x="431292" y="313029"/>
                  </a:lnTo>
                  <a:lnTo>
                    <a:pt x="419468" y="309054"/>
                  </a:lnTo>
                  <a:lnTo>
                    <a:pt x="407454" y="309892"/>
                  </a:lnTo>
                  <a:lnTo>
                    <a:pt x="396621" y="315175"/>
                  </a:lnTo>
                  <a:lnTo>
                    <a:pt x="388378" y="324523"/>
                  </a:lnTo>
                  <a:lnTo>
                    <a:pt x="384403" y="336346"/>
                  </a:lnTo>
                  <a:lnTo>
                    <a:pt x="385241" y="348361"/>
                  </a:lnTo>
                  <a:lnTo>
                    <a:pt x="390525" y="359181"/>
                  </a:lnTo>
                  <a:lnTo>
                    <a:pt x="399872" y="367423"/>
                  </a:lnTo>
                  <a:lnTo>
                    <a:pt x="411695" y="371398"/>
                  </a:lnTo>
                  <a:lnTo>
                    <a:pt x="423710" y="370560"/>
                  </a:lnTo>
                  <a:lnTo>
                    <a:pt x="434530" y="365290"/>
                  </a:lnTo>
                  <a:lnTo>
                    <a:pt x="442772" y="355930"/>
                  </a:lnTo>
                  <a:lnTo>
                    <a:pt x="446747" y="344106"/>
                  </a:lnTo>
                  <a:close/>
                </a:path>
                <a:path w="474980" h="474980">
                  <a:moveTo>
                    <a:pt x="446747" y="130467"/>
                  </a:moveTo>
                  <a:lnTo>
                    <a:pt x="442772" y="118656"/>
                  </a:lnTo>
                  <a:lnTo>
                    <a:pt x="434530" y="109296"/>
                  </a:lnTo>
                  <a:lnTo>
                    <a:pt x="423710" y="104025"/>
                  </a:lnTo>
                  <a:lnTo>
                    <a:pt x="411695" y="103187"/>
                  </a:lnTo>
                  <a:lnTo>
                    <a:pt x="399872" y="107162"/>
                  </a:lnTo>
                  <a:lnTo>
                    <a:pt x="390525" y="115404"/>
                  </a:lnTo>
                  <a:lnTo>
                    <a:pt x="385241" y="126225"/>
                  </a:lnTo>
                  <a:lnTo>
                    <a:pt x="384403" y="138239"/>
                  </a:lnTo>
                  <a:lnTo>
                    <a:pt x="388378" y="150050"/>
                  </a:lnTo>
                  <a:lnTo>
                    <a:pt x="396633" y="159410"/>
                  </a:lnTo>
                  <a:lnTo>
                    <a:pt x="407454" y="164693"/>
                  </a:lnTo>
                  <a:lnTo>
                    <a:pt x="419455" y="165531"/>
                  </a:lnTo>
                  <a:lnTo>
                    <a:pt x="431279" y="161556"/>
                  </a:lnTo>
                  <a:lnTo>
                    <a:pt x="440639" y="153301"/>
                  </a:lnTo>
                  <a:lnTo>
                    <a:pt x="445909" y="142481"/>
                  </a:lnTo>
                  <a:lnTo>
                    <a:pt x="446747" y="130467"/>
                  </a:lnTo>
                  <a:close/>
                </a:path>
                <a:path w="474980" h="474980">
                  <a:moveTo>
                    <a:pt x="474573" y="237286"/>
                  </a:moveTo>
                  <a:lnTo>
                    <a:pt x="472109" y="225069"/>
                  </a:lnTo>
                  <a:lnTo>
                    <a:pt x="465366" y="215087"/>
                  </a:lnTo>
                  <a:lnTo>
                    <a:pt x="455383" y="208356"/>
                  </a:lnTo>
                  <a:lnTo>
                    <a:pt x="443153" y="205879"/>
                  </a:lnTo>
                  <a:lnTo>
                    <a:pt x="430936" y="208356"/>
                  </a:lnTo>
                  <a:lnTo>
                    <a:pt x="420941" y="215087"/>
                  </a:lnTo>
                  <a:lnTo>
                    <a:pt x="414210" y="225069"/>
                  </a:lnTo>
                  <a:lnTo>
                    <a:pt x="411746" y="237286"/>
                  </a:lnTo>
                  <a:lnTo>
                    <a:pt x="414210" y="249516"/>
                  </a:lnTo>
                  <a:lnTo>
                    <a:pt x="420941" y="259499"/>
                  </a:lnTo>
                  <a:lnTo>
                    <a:pt x="430936" y="266230"/>
                  </a:lnTo>
                  <a:lnTo>
                    <a:pt x="443153" y="268693"/>
                  </a:lnTo>
                  <a:lnTo>
                    <a:pt x="455383" y="266230"/>
                  </a:lnTo>
                  <a:lnTo>
                    <a:pt x="465366" y="259499"/>
                  </a:lnTo>
                  <a:lnTo>
                    <a:pt x="472109" y="249516"/>
                  </a:lnTo>
                  <a:lnTo>
                    <a:pt x="474573" y="237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82A69B8-8BA3-E9DC-7A9D-FA14853D36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14532EF3-B6F0-B76B-9CFE-47CDEDAE2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99" y="1430340"/>
            <a:ext cx="5310188" cy="2720388"/>
          </a:xfrm>
        </p:spPr>
        <p:txBody>
          <a:bodyPr/>
          <a:lstStyle>
            <a:lvl1pPr>
              <a:defRPr sz="4800" spc="-17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3 </a:t>
            </a:r>
            <a:br>
              <a:rPr lang="en-GB" dirty="0"/>
            </a:br>
            <a:r>
              <a:rPr lang="en-GB" dirty="0"/>
              <a:t>that can break over three lines if required</a:t>
            </a:r>
            <a:br>
              <a:rPr lang="en-GB" dirty="0"/>
            </a:b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ACB6CFB-017C-07CB-C76D-D9162BE65281}"/>
              </a:ext>
            </a:extLst>
          </p:cNvPr>
          <p:cNvGrpSpPr/>
          <p:nvPr userDrawn="1"/>
        </p:nvGrpSpPr>
        <p:grpSpPr>
          <a:xfrm>
            <a:off x="120673" y="601896"/>
            <a:ext cx="11959457" cy="60193"/>
            <a:chOff x="120673" y="601896"/>
            <a:chExt cx="11959457" cy="60193"/>
          </a:xfrm>
          <a:solidFill>
            <a:schemeClr val="bg1"/>
          </a:solidFill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4D478FC-C1D6-0DE6-37C6-AA33FAD9B03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0673" y="601896"/>
              <a:ext cx="60193" cy="6019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D0C1D91-FFA1-5FDB-CEB8-B0B02CFC7AA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019937" y="601896"/>
              <a:ext cx="60193" cy="6019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7" name="object 3">
            <a:extLst>
              <a:ext uri="{FF2B5EF4-FFF2-40B4-BE49-F238E27FC236}">
                <a16:creationId xmlns:a16="http://schemas.microsoft.com/office/drawing/2014/main" id="{C5EF4511-BC4F-0983-B1FD-B1C40AF754A9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58531630-32B9-1621-E0BF-AB57475FA4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759" y="795828"/>
            <a:ext cx="5310188" cy="310352"/>
          </a:xfrm>
        </p:spPr>
        <p:txBody>
          <a:bodyPr/>
          <a:lstStyle>
            <a:lvl1pPr>
              <a:defRPr sz="2000" b="1" spc="-20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9A87186C-6BB8-7F54-1DBF-FCB960A850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Text Placeholder 42">
            <a:extLst>
              <a:ext uri="{FF2B5EF4-FFF2-40B4-BE49-F238E27FC236}">
                <a16:creationId xmlns:a16="http://schemas.microsoft.com/office/drawing/2014/main" id="{7268F453-5DD7-4B1B-D9E2-E8A983EBC9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2443" y="1442171"/>
            <a:ext cx="4248143" cy="986701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400" spc="-8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800" spc="-40" baseline="0"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Presentation subtitle goes here over two lines if required. 24pt. </a:t>
            </a:r>
          </a:p>
        </p:txBody>
      </p:sp>
      <p:sp>
        <p:nvSpPr>
          <p:cNvPr id="3" name="object 20"/>
          <p:cNvSpPr/>
          <p:nvPr userDrawn="1"/>
        </p:nvSpPr>
        <p:spPr>
          <a:xfrm>
            <a:off x="6095999" y="723849"/>
            <a:ext cx="45719" cy="5358542"/>
          </a:xfrm>
          <a:custGeom>
            <a:avLst/>
            <a:gdLst/>
            <a:ahLst/>
            <a:cxnLst/>
            <a:rect l="l" t="t" r="r" b="b"/>
            <a:pathLst>
              <a:path h="9801225">
                <a:moveTo>
                  <a:pt x="0" y="0"/>
                </a:moveTo>
                <a:lnTo>
                  <a:pt x="0" y="9800748"/>
                </a:lnTo>
              </a:path>
            </a:pathLst>
          </a:custGeom>
          <a:ln w="10470">
            <a:solidFill>
              <a:srgbClr val="D5EAE6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5" name="object 14">
            <a:extLst>
              <a:ext uri="{FF2B5EF4-FFF2-40B4-BE49-F238E27FC236}">
                <a16:creationId xmlns:a16="http://schemas.microsoft.com/office/drawing/2014/main" id="{360B8ECF-9133-C99E-C5A9-E2E52B1C4435}"/>
              </a:ext>
            </a:extLst>
          </p:cNvPr>
          <p:cNvGrpSpPr/>
          <p:nvPr userDrawn="1"/>
        </p:nvGrpSpPr>
        <p:grpSpPr>
          <a:xfrm>
            <a:off x="6438981" y="1217676"/>
            <a:ext cx="224493" cy="224493"/>
            <a:chOff x="10679834" y="2116859"/>
            <a:chExt cx="370205" cy="370205"/>
          </a:xfrm>
        </p:grpSpPr>
        <p:sp>
          <p:nvSpPr>
            <p:cNvPr id="6" name="object 15">
              <a:extLst>
                <a:ext uri="{FF2B5EF4-FFF2-40B4-BE49-F238E27FC236}">
                  <a16:creationId xmlns:a16="http://schemas.microsoft.com/office/drawing/2014/main" id="{62AEEE1B-D552-0C83-11B2-961F25033E89}"/>
                </a:ext>
              </a:extLst>
            </p:cNvPr>
            <p:cNvSpPr/>
            <p:nvPr/>
          </p:nvSpPr>
          <p:spPr>
            <a:xfrm>
              <a:off x="10686949" y="2116862"/>
              <a:ext cx="0" cy="370205"/>
            </a:xfrm>
            <a:custGeom>
              <a:avLst/>
              <a:gdLst/>
              <a:ahLst/>
              <a:cxnLst/>
              <a:rect l="l" t="t" r="r" b="b"/>
              <a:pathLst>
                <a:path h="370205">
                  <a:moveTo>
                    <a:pt x="0" y="0"/>
                  </a:moveTo>
                  <a:lnTo>
                    <a:pt x="0" y="369842"/>
                  </a:lnTo>
                </a:path>
              </a:pathLst>
            </a:custGeom>
            <a:ln w="1422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object 16">
              <a:extLst>
                <a:ext uri="{FF2B5EF4-FFF2-40B4-BE49-F238E27FC236}">
                  <a16:creationId xmlns:a16="http://schemas.microsoft.com/office/drawing/2014/main" id="{06EB6859-C8FF-37AA-B2E2-A7F59C880C2A}"/>
                </a:ext>
              </a:extLst>
            </p:cNvPr>
            <p:cNvSpPr/>
            <p:nvPr/>
          </p:nvSpPr>
          <p:spPr>
            <a:xfrm>
              <a:off x="10679838" y="2123974"/>
              <a:ext cx="370205" cy="0"/>
            </a:xfrm>
            <a:custGeom>
              <a:avLst/>
              <a:gdLst/>
              <a:ahLst/>
              <a:cxnLst/>
              <a:rect l="l" t="t" r="r" b="b"/>
              <a:pathLst>
                <a:path w="370204">
                  <a:moveTo>
                    <a:pt x="0" y="0"/>
                  </a:moveTo>
                  <a:lnTo>
                    <a:pt x="369842" y="0"/>
                  </a:lnTo>
                </a:path>
              </a:pathLst>
            </a:custGeom>
            <a:ln w="1422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8" name="object 17">
            <a:extLst>
              <a:ext uri="{FF2B5EF4-FFF2-40B4-BE49-F238E27FC236}">
                <a16:creationId xmlns:a16="http://schemas.microsoft.com/office/drawing/2014/main" id="{AC44FE70-ED21-09C6-2FFA-81933275004B}"/>
              </a:ext>
            </a:extLst>
          </p:cNvPr>
          <p:cNvGrpSpPr/>
          <p:nvPr userDrawn="1"/>
        </p:nvGrpSpPr>
        <p:grpSpPr>
          <a:xfrm>
            <a:off x="11198076" y="2448338"/>
            <a:ext cx="224493" cy="224493"/>
            <a:chOff x="18621210" y="4239587"/>
            <a:chExt cx="370205" cy="370205"/>
          </a:xfrm>
        </p:grpSpPr>
        <p:sp>
          <p:nvSpPr>
            <p:cNvPr id="9" name="object 18">
              <a:extLst>
                <a:ext uri="{FF2B5EF4-FFF2-40B4-BE49-F238E27FC236}">
                  <a16:creationId xmlns:a16="http://schemas.microsoft.com/office/drawing/2014/main" id="{46C5D13F-6067-FA6D-7FCF-A0847D668019}"/>
                </a:ext>
              </a:extLst>
            </p:cNvPr>
            <p:cNvSpPr/>
            <p:nvPr/>
          </p:nvSpPr>
          <p:spPr>
            <a:xfrm>
              <a:off x="18983942" y="4239587"/>
              <a:ext cx="0" cy="370205"/>
            </a:xfrm>
            <a:custGeom>
              <a:avLst/>
              <a:gdLst/>
              <a:ahLst/>
              <a:cxnLst/>
              <a:rect l="l" t="t" r="r" b="b"/>
              <a:pathLst>
                <a:path h="370204">
                  <a:moveTo>
                    <a:pt x="0" y="369842"/>
                  </a:moveTo>
                  <a:lnTo>
                    <a:pt x="0" y="0"/>
                  </a:lnTo>
                </a:path>
              </a:pathLst>
            </a:custGeom>
            <a:ln w="1422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object 19">
              <a:extLst>
                <a:ext uri="{FF2B5EF4-FFF2-40B4-BE49-F238E27FC236}">
                  <a16:creationId xmlns:a16="http://schemas.microsoft.com/office/drawing/2014/main" id="{B08DF403-153B-2B6B-4C00-20CAD3DEB398}"/>
                </a:ext>
              </a:extLst>
            </p:cNvPr>
            <p:cNvSpPr/>
            <p:nvPr/>
          </p:nvSpPr>
          <p:spPr>
            <a:xfrm>
              <a:off x="18621210" y="4602315"/>
              <a:ext cx="370205" cy="0"/>
            </a:xfrm>
            <a:custGeom>
              <a:avLst/>
              <a:gdLst/>
              <a:ahLst/>
              <a:cxnLst/>
              <a:rect l="l" t="t" r="r" b="b"/>
              <a:pathLst>
                <a:path w="370205">
                  <a:moveTo>
                    <a:pt x="369842" y="0"/>
                  </a:moveTo>
                  <a:lnTo>
                    <a:pt x="0" y="0"/>
                  </a:lnTo>
                </a:path>
              </a:pathLst>
            </a:custGeom>
            <a:ln w="1422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25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4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text +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D6047-A25C-7D70-1F8B-67AEFAF6A4E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2095500"/>
            <a:ext cx="4945216" cy="36639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 b="1">
                <a:latin typeface="+mn-lt"/>
              </a:defRPr>
            </a:lvl5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1168155"/>
            <a:ext cx="77757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9A0ACD1-FC2E-123C-455F-A17C80C8C79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65130" y="2095500"/>
            <a:ext cx="5584111" cy="3663950"/>
          </a:xfrm>
        </p:spPr>
        <p:txBody>
          <a:bodyPr/>
          <a:lstStyle>
            <a:lvl1pPr marL="263525" indent="0">
              <a:defRPr>
                <a:latin typeface="+mn-lt"/>
              </a:defRPr>
            </a:lvl1pPr>
            <a:lvl2pPr marL="442913" indent="-179388">
              <a:defRPr>
                <a:latin typeface="+mn-lt"/>
              </a:defRPr>
            </a:lvl2pPr>
            <a:lvl3pPr marL="263525" indent="0">
              <a:defRPr>
                <a:latin typeface="+mn-lt"/>
              </a:defRPr>
            </a:lvl3pPr>
            <a:lvl4pPr marL="263525" indent="-263525">
              <a:buSzPct val="100000"/>
              <a:buFont typeface="UKCEH Suisse" panose="020B0504000000000000" pitchFamily="34" charset="-78"/>
              <a:buChar char="•"/>
              <a:defRPr>
                <a:latin typeface="+mn-lt"/>
              </a:defRPr>
            </a:lvl4pPr>
            <a:lvl5pPr marL="263525" indent="0">
              <a:defRPr b="1">
                <a:latin typeface="+mn-lt"/>
              </a:defRPr>
            </a:lvl5pPr>
            <a:lvl6pPr marL="263525" indent="0">
              <a:defRPr>
                <a:latin typeface="+mn-lt"/>
              </a:defRPr>
            </a:lvl6pPr>
            <a:lvl7pPr marL="263525" indent="0">
              <a:defRPr>
                <a:latin typeface="+mn-lt"/>
              </a:defRPr>
            </a:lvl7pPr>
            <a:lvl8pPr marL="263525" indent="0">
              <a:defRPr>
                <a:latin typeface="+mn-lt"/>
              </a:defRPr>
            </a:lvl8pPr>
            <a:lvl9pPr marL="263525" indent="0">
              <a:defRPr>
                <a:latin typeface="+mn-lt"/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724321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Intro text +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D6047-A25C-7D70-1F8B-67AEFAF6A4E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2095500"/>
            <a:ext cx="4945216" cy="36639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 b="1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1">
                <a:solidFill>
                  <a:schemeClr val="bg1"/>
                </a:solidFill>
                <a:latin typeface="+mn-lt"/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1153525"/>
            <a:ext cx="7775729" cy="465103"/>
          </a:xfrm>
        </p:spPr>
        <p:txBody>
          <a:bodyPr/>
          <a:lstStyle>
            <a:lvl1pPr>
              <a:defRPr sz="4000" spc="-110" baseline="0">
                <a:solidFill>
                  <a:schemeClr val="bg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9A0ACD1-FC2E-123C-455F-A17C80C8C79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65130" y="2095500"/>
            <a:ext cx="5584111" cy="3663950"/>
          </a:xfrm>
        </p:spPr>
        <p:txBody>
          <a:bodyPr/>
          <a:lstStyle>
            <a:lvl1pPr marL="263525" indent="0">
              <a:defRPr>
                <a:solidFill>
                  <a:schemeClr val="bg1"/>
                </a:solidFill>
                <a:latin typeface="+mn-lt"/>
              </a:defRPr>
            </a:lvl1pPr>
            <a:lvl2pPr marL="442913" indent="-179388">
              <a:defRPr>
                <a:solidFill>
                  <a:schemeClr val="bg1"/>
                </a:solidFill>
                <a:latin typeface="+mn-lt"/>
              </a:defRPr>
            </a:lvl2pPr>
            <a:lvl3pPr marL="263525" indent="0">
              <a:defRPr>
                <a:solidFill>
                  <a:schemeClr val="bg1"/>
                </a:solidFill>
                <a:latin typeface="+mn-lt"/>
              </a:defRPr>
            </a:lvl3pPr>
            <a:lvl4pPr marL="263525" indent="-263525">
              <a:buSzPct val="100000"/>
              <a:buFont typeface="UKCEH Suisse" panose="020B0504000000000000" pitchFamily="34" charset="-78"/>
              <a:buChar char="•"/>
              <a:defRPr>
                <a:solidFill>
                  <a:schemeClr val="bg1"/>
                </a:solidFill>
                <a:latin typeface="+mn-lt"/>
              </a:defRPr>
            </a:lvl4pPr>
            <a:lvl5pPr marL="263525" indent="0">
              <a:defRPr b="1">
                <a:solidFill>
                  <a:schemeClr val="bg1"/>
                </a:solidFill>
                <a:latin typeface="+mn-lt"/>
              </a:defRPr>
            </a:lvl5pPr>
            <a:lvl6pPr marL="263525" indent="0">
              <a:defRPr>
                <a:solidFill>
                  <a:schemeClr val="bg1"/>
                </a:solidFill>
                <a:latin typeface="+mn-lt"/>
              </a:defRPr>
            </a:lvl6pPr>
            <a:lvl7pPr marL="263525" indent="0">
              <a:defRPr>
                <a:solidFill>
                  <a:schemeClr val="bg1"/>
                </a:solidFill>
                <a:latin typeface="+mn-lt"/>
              </a:defRPr>
            </a:lvl7pPr>
            <a:lvl8pPr marL="263525" indent="0">
              <a:defRPr>
                <a:solidFill>
                  <a:schemeClr val="bg1"/>
                </a:solidFill>
                <a:latin typeface="+mn-lt"/>
              </a:defRPr>
            </a:lvl8pPr>
            <a:lvl9pPr marL="263525" indent="0">
              <a:defRPr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B1C7523-076C-D32E-9710-7899A9F296B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 presentation title ]</a:t>
            </a:r>
            <a:endParaRPr lang="en-GB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A3F6AD7-838C-AE45-CA60-4023A2202E1E}"/>
              </a:ext>
            </a:extLst>
          </p:cNvPr>
          <p:cNvGrpSpPr/>
          <p:nvPr userDrawn="1"/>
        </p:nvGrpSpPr>
        <p:grpSpPr>
          <a:xfrm>
            <a:off x="143595" y="135785"/>
            <a:ext cx="1089185" cy="288028"/>
            <a:chOff x="143595" y="135785"/>
            <a:chExt cx="1089185" cy="288028"/>
          </a:xfrm>
          <a:solidFill>
            <a:schemeClr val="bg1"/>
          </a:solidFill>
        </p:grpSpPr>
        <p:sp>
          <p:nvSpPr>
            <p:cNvPr id="9" name="object 8">
              <a:extLst>
                <a:ext uri="{FF2B5EF4-FFF2-40B4-BE49-F238E27FC236}">
                  <a16:creationId xmlns:a16="http://schemas.microsoft.com/office/drawing/2014/main" id="{00F0D318-D444-A580-8C5A-9D65D1C36559}"/>
                </a:ext>
              </a:extLst>
            </p:cNvPr>
            <p:cNvSpPr/>
            <p:nvPr userDrawn="1"/>
          </p:nvSpPr>
          <p:spPr>
            <a:xfrm>
              <a:off x="478824" y="191457"/>
              <a:ext cx="753956" cy="175204"/>
            </a:xfrm>
            <a:custGeom>
              <a:avLst/>
              <a:gdLst/>
              <a:ahLst/>
              <a:cxnLst/>
              <a:rect l="l" t="t" r="r" b="b"/>
              <a:pathLst>
                <a:path w="1243330" h="288925">
                  <a:moveTo>
                    <a:pt x="39223" y="4994"/>
                  </a:moveTo>
                  <a:lnTo>
                    <a:pt x="0" y="4994"/>
                  </a:lnTo>
                  <a:lnTo>
                    <a:pt x="0" y="170361"/>
                  </a:lnTo>
                  <a:lnTo>
                    <a:pt x="6495" y="225537"/>
                  </a:lnTo>
                  <a:lnTo>
                    <a:pt x="26582" y="262179"/>
                  </a:lnTo>
                  <a:lnTo>
                    <a:pt x="61163" y="282523"/>
                  </a:lnTo>
                  <a:lnTo>
                    <a:pt x="111137" y="288807"/>
                  </a:lnTo>
                  <a:lnTo>
                    <a:pt x="162919" y="281285"/>
                  </a:lnTo>
                  <a:lnTo>
                    <a:pt x="197719" y="258621"/>
                  </a:lnTo>
                  <a:lnTo>
                    <a:pt x="199605" y="254966"/>
                  </a:lnTo>
                  <a:lnTo>
                    <a:pt x="111137" y="254966"/>
                  </a:lnTo>
                  <a:lnTo>
                    <a:pt x="77840" y="250140"/>
                  </a:lnTo>
                  <a:lnTo>
                    <a:pt x="55571" y="235401"/>
                  </a:lnTo>
                  <a:lnTo>
                    <a:pt x="43106" y="210350"/>
                  </a:lnTo>
                  <a:lnTo>
                    <a:pt x="39223" y="174591"/>
                  </a:lnTo>
                  <a:lnTo>
                    <a:pt x="39223" y="4994"/>
                  </a:lnTo>
                  <a:close/>
                </a:path>
                <a:path w="1243330" h="288925">
                  <a:moveTo>
                    <a:pt x="223438" y="4994"/>
                  </a:moveTo>
                  <a:lnTo>
                    <a:pt x="184214" y="4994"/>
                  </a:lnTo>
                  <a:lnTo>
                    <a:pt x="184214" y="170361"/>
                  </a:lnTo>
                  <a:lnTo>
                    <a:pt x="180314" y="206781"/>
                  </a:lnTo>
                  <a:lnTo>
                    <a:pt x="167725" y="233286"/>
                  </a:lnTo>
                  <a:lnTo>
                    <a:pt x="145111" y="249479"/>
                  </a:lnTo>
                  <a:lnTo>
                    <a:pt x="111137" y="254966"/>
                  </a:lnTo>
                  <a:lnTo>
                    <a:pt x="199605" y="254966"/>
                  </a:lnTo>
                  <a:lnTo>
                    <a:pt x="217302" y="220669"/>
                  </a:lnTo>
                  <a:lnTo>
                    <a:pt x="223438" y="167282"/>
                  </a:lnTo>
                  <a:lnTo>
                    <a:pt x="223438" y="4994"/>
                  </a:lnTo>
                  <a:close/>
                </a:path>
                <a:path w="1243330" h="288925">
                  <a:moveTo>
                    <a:pt x="313037" y="4994"/>
                  </a:moveTo>
                  <a:lnTo>
                    <a:pt x="273813" y="4994"/>
                  </a:lnTo>
                  <a:lnTo>
                    <a:pt x="273813" y="283802"/>
                  </a:lnTo>
                  <a:lnTo>
                    <a:pt x="313037" y="283802"/>
                  </a:lnTo>
                  <a:lnTo>
                    <a:pt x="313037" y="196130"/>
                  </a:lnTo>
                  <a:lnTo>
                    <a:pt x="356879" y="147670"/>
                  </a:lnTo>
                  <a:lnTo>
                    <a:pt x="403714" y="147670"/>
                  </a:lnTo>
                  <a:lnTo>
                    <a:pt x="402092" y="145367"/>
                  </a:lnTo>
                  <a:lnTo>
                    <a:pt x="313037" y="145367"/>
                  </a:lnTo>
                  <a:lnTo>
                    <a:pt x="313037" y="4994"/>
                  </a:lnTo>
                  <a:close/>
                </a:path>
                <a:path w="1243330" h="288925">
                  <a:moveTo>
                    <a:pt x="403714" y="147670"/>
                  </a:moveTo>
                  <a:lnTo>
                    <a:pt x="356879" y="147670"/>
                  </a:lnTo>
                  <a:lnTo>
                    <a:pt x="452635" y="283802"/>
                  </a:lnTo>
                  <a:lnTo>
                    <a:pt x="499555" y="283802"/>
                  </a:lnTo>
                  <a:lnTo>
                    <a:pt x="403714" y="147670"/>
                  </a:lnTo>
                  <a:close/>
                </a:path>
                <a:path w="1243330" h="288925">
                  <a:moveTo>
                    <a:pt x="487639" y="4994"/>
                  </a:moveTo>
                  <a:lnTo>
                    <a:pt x="438792" y="4994"/>
                  </a:lnTo>
                  <a:lnTo>
                    <a:pt x="313037" y="145367"/>
                  </a:lnTo>
                  <a:lnTo>
                    <a:pt x="402092" y="145367"/>
                  </a:lnTo>
                  <a:lnTo>
                    <a:pt x="383412" y="118834"/>
                  </a:lnTo>
                  <a:lnTo>
                    <a:pt x="487639" y="4994"/>
                  </a:lnTo>
                  <a:close/>
                </a:path>
                <a:path w="1243330" h="288925">
                  <a:moveTo>
                    <a:pt x="630692" y="0"/>
                  </a:moveTo>
                  <a:lnTo>
                    <a:pt x="587086" y="6688"/>
                  </a:lnTo>
                  <a:lnTo>
                    <a:pt x="551180" y="25818"/>
                  </a:lnTo>
                  <a:lnTo>
                    <a:pt x="524117" y="55986"/>
                  </a:lnTo>
                  <a:lnTo>
                    <a:pt x="507040" y="95790"/>
                  </a:lnTo>
                  <a:lnTo>
                    <a:pt x="501094" y="143828"/>
                  </a:lnTo>
                  <a:lnTo>
                    <a:pt x="506546" y="191167"/>
                  </a:lnTo>
                  <a:lnTo>
                    <a:pt x="506572" y="191394"/>
                  </a:lnTo>
                  <a:lnTo>
                    <a:pt x="522590" y="231410"/>
                  </a:lnTo>
                  <a:lnTo>
                    <a:pt x="548520" y="262141"/>
                  </a:lnTo>
                  <a:lnTo>
                    <a:pt x="583737" y="281852"/>
                  </a:lnTo>
                  <a:lnTo>
                    <a:pt x="627614" y="288807"/>
                  </a:lnTo>
                  <a:lnTo>
                    <a:pt x="670222" y="282799"/>
                  </a:lnTo>
                  <a:lnTo>
                    <a:pt x="706016" y="264965"/>
                  </a:lnTo>
                  <a:lnTo>
                    <a:pt x="714428" y="255740"/>
                  </a:lnTo>
                  <a:lnTo>
                    <a:pt x="629917" y="255740"/>
                  </a:lnTo>
                  <a:lnTo>
                    <a:pt x="594136" y="248205"/>
                  </a:lnTo>
                  <a:lnTo>
                    <a:pt x="566032" y="226320"/>
                  </a:lnTo>
                  <a:lnTo>
                    <a:pt x="547781" y="191394"/>
                  </a:lnTo>
                  <a:lnTo>
                    <a:pt x="547662" y="191167"/>
                  </a:lnTo>
                  <a:lnTo>
                    <a:pt x="541083" y="143828"/>
                  </a:lnTo>
                  <a:lnTo>
                    <a:pt x="547861" y="96019"/>
                  </a:lnTo>
                  <a:lnTo>
                    <a:pt x="566465" y="61334"/>
                  </a:lnTo>
                  <a:lnTo>
                    <a:pt x="594299" y="40206"/>
                  </a:lnTo>
                  <a:lnTo>
                    <a:pt x="628766" y="33067"/>
                  </a:lnTo>
                  <a:lnTo>
                    <a:pt x="713229" y="33067"/>
                  </a:lnTo>
                  <a:lnTo>
                    <a:pt x="705776" y="24564"/>
                  </a:lnTo>
                  <a:lnTo>
                    <a:pt x="671443" y="6279"/>
                  </a:lnTo>
                  <a:lnTo>
                    <a:pt x="630692" y="0"/>
                  </a:lnTo>
                  <a:close/>
                </a:path>
                <a:path w="1243330" h="288925">
                  <a:moveTo>
                    <a:pt x="748364" y="194978"/>
                  </a:moveTo>
                  <a:lnTo>
                    <a:pt x="710292" y="194978"/>
                  </a:lnTo>
                  <a:lnTo>
                    <a:pt x="700279" y="219557"/>
                  </a:lnTo>
                  <a:lnTo>
                    <a:pt x="683522" y="238768"/>
                  </a:lnTo>
                  <a:lnTo>
                    <a:pt x="660056" y="251275"/>
                  </a:lnTo>
                  <a:lnTo>
                    <a:pt x="629917" y="255740"/>
                  </a:lnTo>
                  <a:lnTo>
                    <a:pt x="714428" y="255740"/>
                  </a:lnTo>
                  <a:lnTo>
                    <a:pt x="732797" y="235595"/>
                  </a:lnTo>
                  <a:lnTo>
                    <a:pt x="748364" y="194978"/>
                  </a:lnTo>
                  <a:close/>
                </a:path>
                <a:path w="1243330" h="288925">
                  <a:moveTo>
                    <a:pt x="713229" y="33067"/>
                  </a:moveTo>
                  <a:lnTo>
                    <a:pt x="628766" y="33067"/>
                  </a:lnTo>
                  <a:lnTo>
                    <a:pt x="658788" y="37640"/>
                  </a:lnTo>
                  <a:lnTo>
                    <a:pt x="682318" y="50325"/>
                  </a:lnTo>
                  <a:lnTo>
                    <a:pt x="699069" y="69572"/>
                  </a:lnTo>
                  <a:lnTo>
                    <a:pt x="708753" y="93829"/>
                  </a:lnTo>
                  <a:lnTo>
                    <a:pt x="746825" y="93829"/>
                  </a:lnTo>
                  <a:lnTo>
                    <a:pt x="731601" y="54024"/>
                  </a:lnTo>
                  <a:lnTo>
                    <a:pt x="713229" y="33067"/>
                  </a:lnTo>
                  <a:close/>
                </a:path>
                <a:path w="1243330" h="288925">
                  <a:moveTo>
                    <a:pt x="975268" y="4994"/>
                  </a:moveTo>
                  <a:lnTo>
                    <a:pt x="786059" y="4994"/>
                  </a:lnTo>
                  <a:lnTo>
                    <a:pt x="786059" y="283802"/>
                  </a:lnTo>
                  <a:lnTo>
                    <a:pt x="975268" y="283802"/>
                  </a:lnTo>
                  <a:lnTo>
                    <a:pt x="975268" y="249971"/>
                  </a:lnTo>
                  <a:lnTo>
                    <a:pt x="825283" y="249971"/>
                  </a:lnTo>
                  <a:lnTo>
                    <a:pt x="825283" y="157283"/>
                  </a:lnTo>
                  <a:lnTo>
                    <a:pt x="966420" y="157283"/>
                  </a:lnTo>
                  <a:lnTo>
                    <a:pt x="966420" y="123441"/>
                  </a:lnTo>
                  <a:lnTo>
                    <a:pt x="825283" y="123441"/>
                  </a:lnTo>
                  <a:lnTo>
                    <a:pt x="825283" y="38836"/>
                  </a:lnTo>
                  <a:lnTo>
                    <a:pt x="975268" y="38836"/>
                  </a:lnTo>
                  <a:lnTo>
                    <a:pt x="975268" y="4994"/>
                  </a:lnTo>
                  <a:close/>
                </a:path>
                <a:path w="1243330" h="288925">
                  <a:moveTo>
                    <a:pt x="1057171" y="4994"/>
                  </a:moveTo>
                  <a:lnTo>
                    <a:pt x="1017948" y="4994"/>
                  </a:lnTo>
                  <a:lnTo>
                    <a:pt x="1017948" y="283802"/>
                  </a:lnTo>
                  <a:lnTo>
                    <a:pt x="1057171" y="283802"/>
                  </a:lnTo>
                  <a:lnTo>
                    <a:pt x="1057171" y="157283"/>
                  </a:lnTo>
                  <a:lnTo>
                    <a:pt x="1242925" y="157283"/>
                  </a:lnTo>
                  <a:lnTo>
                    <a:pt x="1242925" y="123441"/>
                  </a:lnTo>
                  <a:lnTo>
                    <a:pt x="1057171" y="123441"/>
                  </a:lnTo>
                  <a:lnTo>
                    <a:pt x="1057171" y="4994"/>
                  </a:lnTo>
                  <a:close/>
                </a:path>
                <a:path w="1243330" h="288925">
                  <a:moveTo>
                    <a:pt x="1242925" y="157283"/>
                  </a:moveTo>
                  <a:lnTo>
                    <a:pt x="1203701" y="157283"/>
                  </a:lnTo>
                  <a:lnTo>
                    <a:pt x="1203701" y="283802"/>
                  </a:lnTo>
                  <a:lnTo>
                    <a:pt x="1242925" y="283802"/>
                  </a:lnTo>
                  <a:lnTo>
                    <a:pt x="1242925" y="157283"/>
                  </a:lnTo>
                  <a:close/>
                </a:path>
                <a:path w="1243330" h="288925">
                  <a:moveTo>
                    <a:pt x="1242925" y="4994"/>
                  </a:moveTo>
                  <a:lnTo>
                    <a:pt x="1203701" y="4994"/>
                  </a:lnTo>
                  <a:lnTo>
                    <a:pt x="1203701" y="123441"/>
                  </a:lnTo>
                  <a:lnTo>
                    <a:pt x="1242925" y="123441"/>
                  </a:lnTo>
                  <a:lnTo>
                    <a:pt x="1242925" y="4994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object 9">
              <a:extLst>
                <a:ext uri="{FF2B5EF4-FFF2-40B4-BE49-F238E27FC236}">
                  <a16:creationId xmlns:a16="http://schemas.microsoft.com/office/drawing/2014/main" id="{8C35BABA-596E-10CB-570B-CE9634D9EDC7}"/>
                </a:ext>
              </a:extLst>
            </p:cNvPr>
            <p:cNvSpPr/>
            <p:nvPr userDrawn="1"/>
          </p:nvSpPr>
          <p:spPr>
            <a:xfrm>
              <a:off x="143595" y="135785"/>
              <a:ext cx="288028" cy="288028"/>
            </a:xfrm>
            <a:custGeom>
              <a:avLst/>
              <a:gdLst/>
              <a:ahLst/>
              <a:cxnLst/>
              <a:rect l="l" t="t" r="r" b="b"/>
              <a:pathLst>
                <a:path w="474980" h="474980">
                  <a:moveTo>
                    <a:pt x="62826" y="237299"/>
                  </a:moveTo>
                  <a:lnTo>
                    <a:pt x="60350" y="225069"/>
                  </a:lnTo>
                  <a:lnTo>
                    <a:pt x="53619" y="215087"/>
                  </a:lnTo>
                  <a:lnTo>
                    <a:pt x="43637" y="208356"/>
                  </a:lnTo>
                  <a:lnTo>
                    <a:pt x="31407" y="205879"/>
                  </a:lnTo>
                  <a:lnTo>
                    <a:pt x="19177" y="208356"/>
                  </a:lnTo>
                  <a:lnTo>
                    <a:pt x="9194" y="215087"/>
                  </a:lnTo>
                  <a:lnTo>
                    <a:pt x="2463" y="225069"/>
                  </a:lnTo>
                  <a:lnTo>
                    <a:pt x="0" y="237299"/>
                  </a:lnTo>
                  <a:lnTo>
                    <a:pt x="2463" y="249516"/>
                  </a:lnTo>
                  <a:lnTo>
                    <a:pt x="9194" y="259499"/>
                  </a:lnTo>
                  <a:lnTo>
                    <a:pt x="19177" y="266230"/>
                  </a:lnTo>
                  <a:lnTo>
                    <a:pt x="31407" y="268693"/>
                  </a:lnTo>
                  <a:lnTo>
                    <a:pt x="43637" y="266230"/>
                  </a:lnTo>
                  <a:lnTo>
                    <a:pt x="53619" y="259499"/>
                  </a:lnTo>
                  <a:lnTo>
                    <a:pt x="60350" y="249516"/>
                  </a:lnTo>
                  <a:lnTo>
                    <a:pt x="62826" y="237299"/>
                  </a:lnTo>
                  <a:close/>
                </a:path>
                <a:path w="474980" h="474980">
                  <a:moveTo>
                    <a:pt x="90170" y="336346"/>
                  </a:moveTo>
                  <a:lnTo>
                    <a:pt x="86194" y="324523"/>
                  </a:lnTo>
                  <a:lnTo>
                    <a:pt x="77939" y="315175"/>
                  </a:lnTo>
                  <a:lnTo>
                    <a:pt x="67119" y="309892"/>
                  </a:lnTo>
                  <a:lnTo>
                    <a:pt x="55118" y="309054"/>
                  </a:lnTo>
                  <a:lnTo>
                    <a:pt x="43294" y="313029"/>
                  </a:lnTo>
                  <a:lnTo>
                    <a:pt x="33934" y="321284"/>
                  </a:lnTo>
                  <a:lnTo>
                    <a:pt x="28651" y="332105"/>
                  </a:lnTo>
                  <a:lnTo>
                    <a:pt x="27813" y="344106"/>
                  </a:lnTo>
                  <a:lnTo>
                    <a:pt x="31788" y="355930"/>
                  </a:lnTo>
                  <a:lnTo>
                    <a:pt x="40043" y="365290"/>
                  </a:lnTo>
                  <a:lnTo>
                    <a:pt x="50863" y="370560"/>
                  </a:lnTo>
                  <a:lnTo>
                    <a:pt x="62877" y="371398"/>
                  </a:lnTo>
                  <a:lnTo>
                    <a:pt x="74701" y="367423"/>
                  </a:lnTo>
                  <a:lnTo>
                    <a:pt x="84048" y="359181"/>
                  </a:lnTo>
                  <a:lnTo>
                    <a:pt x="89331" y="348361"/>
                  </a:lnTo>
                  <a:lnTo>
                    <a:pt x="90170" y="336346"/>
                  </a:lnTo>
                  <a:close/>
                </a:path>
                <a:path w="474980" h="474980">
                  <a:moveTo>
                    <a:pt x="90170" y="138239"/>
                  </a:moveTo>
                  <a:lnTo>
                    <a:pt x="89331" y="126225"/>
                  </a:lnTo>
                  <a:lnTo>
                    <a:pt x="84048" y="115404"/>
                  </a:lnTo>
                  <a:lnTo>
                    <a:pt x="74701" y="107149"/>
                  </a:lnTo>
                  <a:lnTo>
                    <a:pt x="62877" y="103174"/>
                  </a:lnTo>
                  <a:lnTo>
                    <a:pt x="50863" y="104013"/>
                  </a:lnTo>
                  <a:lnTo>
                    <a:pt x="40043" y="109296"/>
                  </a:lnTo>
                  <a:lnTo>
                    <a:pt x="31800" y="118656"/>
                  </a:lnTo>
                  <a:lnTo>
                    <a:pt x="27813" y="130479"/>
                  </a:lnTo>
                  <a:lnTo>
                    <a:pt x="28651" y="142481"/>
                  </a:lnTo>
                  <a:lnTo>
                    <a:pt x="33934" y="153301"/>
                  </a:lnTo>
                  <a:lnTo>
                    <a:pt x="43281" y="161556"/>
                  </a:lnTo>
                  <a:lnTo>
                    <a:pt x="55105" y="165519"/>
                  </a:lnTo>
                  <a:lnTo>
                    <a:pt x="67119" y="164693"/>
                  </a:lnTo>
                  <a:lnTo>
                    <a:pt x="77939" y="159410"/>
                  </a:lnTo>
                  <a:lnTo>
                    <a:pt x="86194" y="150050"/>
                  </a:lnTo>
                  <a:lnTo>
                    <a:pt x="90170" y="138239"/>
                  </a:lnTo>
                  <a:close/>
                </a:path>
                <a:path w="474980" h="474980">
                  <a:moveTo>
                    <a:pt x="141947" y="237286"/>
                  </a:moveTo>
                  <a:lnTo>
                    <a:pt x="140106" y="228117"/>
                  </a:lnTo>
                  <a:lnTo>
                    <a:pt x="135051" y="220637"/>
                  </a:lnTo>
                  <a:lnTo>
                    <a:pt x="127571" y="215582"/>
                  </a:lnTo>
                  <a:lnTo>
                    <a:pt x="118402" y="213741"/>
                  </a:lnTo>
                  <a:lnTo>
                    <a:pt x="109232" y="215582"/>
                  </a:lnTo>
                  <a:lnTo>
                    <a:pt x="101752" y="220637"/>
                  </a:lnTo>
                  <a:lnTo>
                    <a:pt x="96697" y="228117"/>
                  </a:lnTo>
                  <a:lnTo>
                    <a:pt x="94856" y="237286"/>
                  </a:lnTo>
                  <a:lnTo>
                    <a:pt x="96697" y="246456"/>
                  </a:lnTo>
                  <a:lnTo>
                    <a:pt x="101752" y="253949"/>
                  </a:lnTo>
                  <a:lnTo>
                    <a:pt x="109232" y="258991"/>
                  </a:lnTo>
                  <a:lnTo>
                    <a:pt x="118402" y="260845"/>
                  </a:lnTo>
                  <a:lnTo>
                    <a:pt x="127571" y="258991"/>
                  </a:lnTo>
                  <a:lnTo>
                    <a:pt x="135051" y="253949"/>
                  </a:lnTo>
                  <a:lnTo>
                    <a:pt x="140106" y="246456"/>
                  </a:lnTo>
                  <a:lnTo>
                    <a:pt x="141947" y="237286"/>
                  </a:lnTo>
                  <a:close/>
                </a:path>
                <a:path w="474980" h="474980">
                  <a:moveTo>
                    <a:pt x="165519" y="419468"/>
                  </a:moveTo>
                  <a:lnTo>
                    <a:pt x="164680" y="407454"/>
                  </a:lnTo>
                  <a:lnTo>
                    <a:pt x="159397" y="396633"/>
                  </a:lnTo>
                  <a:lnTo>
                    <a:pt x="150050" y="388378"/>
                  </a:lnTo>
                  <a:lnTo>
                    <a:pt x="138226" y="384403"/>
                  </a:lnTo>
                  <a:lnTo>
                    <a:pt x="126212" y="385241"/>
                  </a:lnTo>
                  <a:lnTo>
                    <a:pt x="115392" y="390525"/>
                  </a:lnTo>
                  <a:lnTo>
                    <a:pt x="107149" y="399884"/>
                  </a:lnTo>
                  <a:lnTo>
                    <a:pt x="103174" y="411708"/>
                  </a:lnTo>
                  <a:lnTo>
                    <a:pt x="104013" y="423710"/>
                  </a:lnTo>
                  <a:lnTo>
                    <a:pt x="109296" y="434530"/>
                  </a:lnTo>
                  <a:lnTo>
                    <a:pt x="118643" y="442785"/>
                  </a:lnTo>
                  <a:lnTo>
                    <a:pt x="130467" y="446760"/>
                  </a:lnTo>
                  <a:lnTo>
                    <a:pt x="142481" y="445922"/>
                  </a:lnTo>
                  <a:lnTo>
                    <a:pt x="153301" y="440639"/>
                  </a:lnTo>
                  <a:lnTo>
                    <a:pt x="161544" y="431292"/>
                  </a:lnTo>
                  <a:lnTo>
                    <a:pt x="165519" y="419468"/>
                  </a:lnTo>
                  <a:close/>
                </a:path>
                <a:path w="474980" h="474980">
                  <a:moveTo>
                    <a:pt x="165519" y="55118"/>
                  </a:moveTo>
                  <a:lnTo>
                    <a:pt x="161544" y="43294"/>
                  </a:lnTo>
                  <a:lnTo>
                    <a:pt x="153301" y="33947"/>
                  </a:lnTo>
                  <a:lnTo>
                    <a:pt x="142481" y="28663"/>
                  </a:lnTo>
                  <a:lnTo>
                    <a:pt x="130467" y="27825"/>
                  </a:lnTo>
                  <a:lnTo>
                    <a:pt x="118643" y="31800"/>
                  </a:lnTo>
                  <a:lnTo>
                    <a:pt x="109296" y="40043"/>
                  </a:lnTo>
                  <a:lnTo>
                    <a:pt x="104013" y="50876"/>
                  </a:lnTo>
                  <a:lnTo>
                    <a:pt x="103174" y="62890"/>
                  </a:lnTo>
                  <a:lnTo>
                    <a:pt x="107149" y="74714"/>
                  </a:lnTo>
                  <a:lnTo>
                    <a:pt x="115404" y="84061"/>
                  </a:lnTo>
                  <a:lnTo>
                    <a:pt x="126212" y="89331"/>
                  </a:lnTo>
                  <a:lnTo>
                    <a:pt x="138226" y="90170"/>
                  </a:lnTo>
                  <a:lnTo>
                    <a:pt x="150050" y="86194"/>
                  </a:lnTo>
                  <a:lnTo>
                    <a:pt x="159410" y="77952"/>
                  </a:lnTo>
                  <a:lnTo>
                    <a:pt x="164680" y="67132"/>
                  </a:lnTo>
                  <a:lnTo>
                    <a:pt x="165519" y="55118"/>
                  </a:lnTo>
                  <a:close/>
                </a:path>
                <a:path w="474980" h="474980">
                  <a:moveTo>
                    <a:pt x="176771" y="321348"/>
                  </a:moveTo>
                  <a:lnTo>
                    <a:pt x="175056" y="312483"/>
                  </a:lnTo>
                  <a:lnTo>
                    <a:pt x="169875" y="304698"/>
                  </a:lnTo>
                  <a:lnTo>
                    <a:pt x="162077" y="299529"/>
                  </a:lnTo>
                  <a:lnTo>
                    <a:pt x="153225" y="297802"/>
                  </a:lnTo>
                  <a:lnTo>
                    <a:pt x="144360" y="299529"/>
                  </a:lnTo>
                  <a:lnTo>
                    <a:pt x="136563" y="304698"/>
                  </a:lnTo>
                  <a:lnTo>
                    <a:pt x="131394" y="312483"/>
                  </a:lnTo>
                  <a:lnTo>
                    <a:pt x="129667" y="321348"/>
                  </a:lnTo>
                  <a:lnTo>
                    <a:pt x="131394" y="330212"/>
                  </a:lnTo>
                  <a:lnTo>
                    <a:pt x="136563" y="338010"/>
                  </a:lnTo>
                  <a:lnTo>
                    <a:pt x="144360" y="343179"/>
                  </a:lnTo>
                  <a:lnTo>
                    <a:pt x="153225" y="344906"/>
                  </a:lnTo>
                  <a:lnTo>
                    <a:pt x="162077" y="343179"/>
                  </a:lnTo>
                  <a:lnTo>
                    <a:pt x="169875" y="338010"/>
                  </a:lnTo>
                  <a:lnTo>
                    <a:pt x="175056" y="330212"/>
                  </a:lnTo>
                  <a:lnTo>
                    <a:pt x="176771" y="321348"/>
                  </a:lnTo>
                  <a:close/>
                </a:path>
                <a:path w="474980" h="474980">
                  <a:moveTo>
                    <a:pt x="176784" y="153225"/>
                  </a:moveTo>
                  <a:lnTo>
                    <a:pt x="175056" y="144360"/>
                  </a:lnTo>
                  <a:lnTo>
                    <a:pt x="169875" y="136575"/>
                  </a:lnTo>
                  <a:lnTo>
                    <a:pt x="162090" y="131394"/>
                  </a:lnTo>
                  <a:lnTo>
                    <a:pt x="153225" y="129679"/>
                  </a:lnTo>
                  <a:lnTo>
                    <a:pt x="144360" y="131394"/>
                  </a:lnTo>
                  <a:lnTo>
                    <a:pt x="136575" y="136575"/>
                  </a:lnTo>
                  <a:lnTo>
                    <a:pt x="131394" y="144360"/>
                  </a:lnTo>
                  <a:lnTo>
                    <a:pt x="129667" y="153225"/>
                  </a:lnTo>
                  <a:lnTo>
                    <a:pt x="131394" y="162090"/>
                  </a:lnTo>
                  <a:lnTo>
                    <a:pt x="136575" y="169875"/>
                  </a:lnTo>
                  <a:lnTo>
                    <a:pt x="144360" y="175056"/>
                  </a:lnTo>
                  <a:lnTo>
                    <a:pt x="153225" y="176784"/>
                  </a:lnTo>
                  <a:lnTo>
                    <a:pt x="162090" y="175056"/>
                  </a:lnTo>
                  <a:lnTo>
                    <a:pt x="169875" y="169875"/>
                  </a:lnTo>
                  <a:lnTo>
                    <a:pt x="175056" y="162090"/>
                  </a:lnTo>
                  <a:lnTo>
                    <a:pt x="176784" y="153225"/>
                  </a:lnTo>
                  <a:close/>
                </a:path>
                <a:path w="474980" h="474980">
                  <a:moveTo>
                    <a:pt x="209016" y="261874"/>
                  </a:moveTo>
                  <a:lnTo>
                    <a:pt x="201853" y="249478"/>
                  </a:lnTo>
                  <a:lnTo>
                    <a:pt x="193941" y="247357"/>
                  </a:lnTo>
                  <a:lnTo>
                    <a:pt x="187744" y="250939"/>
                  </a:lnTo>
                  <a:lnTo>
                    <a:pt x="181546" y="254520"/>
                  </a:lnTo>
                  <a:lnTo>
                    <a:pt x="179412" y="262432"/>
                  </a:lnTo>
                  <a:lnTo>
                    <a:pt x="186575" y="274828"/>
                  </a:lnTo>
                  <a:lnTo>
                    <a:pt x="194500" y="276961"/>
                  </a:lnTo>
                  <a:lnTo>
                    <a:pt x="206895" y="269798"/>
                  </a:lnTo>
                  <a:lnTo>
                    <a:pt x="209016" y="261874"/>
                  </a:lnTo>
                  <a:close/>
                </a:path>
                <a:path w="474980" h="474980">
                  <a:moveTo>
                    <a:pt x="209016" y="212699"/>
                  </a:moveTo>
                  <a:lnTo>
                    <a:pt x="206895" y="204787"/>
                  </a:lnTo>
                  <a:lnTo>
                    <a:pt x="200698" y="201206"/>
                  </a:lnTo>
                  <a:lnTo>
                    <a:pt x="194500" y="197624"/>
                  </a:lnTo>
                  <a:lnTo>
                    <a:pt x="186575" y="199745"/>
                  </a:lnTo>
                  <a:lnTo>
                    <a:pt x="179425" y="212153"/>
                  </a:lnTo>
                  <a:lnTo>
                    <a:pt x="181546" y="220078"/>
                  </a:lnTo>
                  <a:lnTo>
                    <a:pt x="193941" y="227228"/>
                  </a:lnTo>
                  <a:lnTo>
                    <a:pt x="201853" y="225107"/>
                  </a:lnTo>
                  <a:lnTo>
                    <a:pt x="209016" y="212699"/>
                  </a:lnTo>
                  <a:close/>
                </a:path>
                <a:path w="474980" h="474980">
                  <a:moveTo>
                    <a:pt x="250240" y="279869"/>
                  </a:moveTo>
                  <a:lnTo>
                    <a:pt x="244449" y="274066"/>
                  </a:lnTo>
                  <a:lnTo>
                    <a:pt x="230136" y="274066"/>
                  </a:lnTo>
                  <a:lnTo>
                    <a:pt x="224332" y="279869"/>
                  </a:lnTo>
                  <a:lnTo>
                    <a:pt x="224332" y="287020"/>
                  </a:lnTo>
                  <a:lnTo>
                    <a:pt x="224332" y="294170"/>
                  </a:lnTo>
                  <a:lnTo>
                    <a:pt x="230136" y="299974"/>
                  </a:lnTo>
                  <a:lnTo>
                    <a:pt x="244449" y="299974"/>
                  </a:lnTo>
                  <a:lnTo>
                    <a:pt x="250240" y="294170"/>
                  </a:lnTo>
                  <a:lnTo>
                    <a:pt x="250240" y="279869"/>
                  </a:lnTo>
                  <a:close/>
                </a:path>
                <a:path w="474980" h="474980">
                  <a:moveTo>
                    <a:pt x="250240" y="180416"/>
                  </a:moveTo>
                  <a:lnTo>
                    <a:pt x="244436" y="174612"/>
                  </a:lnTo>
                  <a:lnTo>
                    <a:pt x="230124" y="174612"/>
                  </a:lnTo>
                  <a:lnTo>
                    <a:pt x="224332" y="180416"/>
                  </a:lnTo>
                  <a:lnTo>
                    <a:pt x="224332" y="194716"/>
                  </a:lnTo>
                  <a:lnTo>
                    <a:pt x="230124" y="200520"/>
                  </a:lnTo>
                  <a:lnTo>
                    <a:pt x="244436" y="200520"/>
                  </a:lnTo>
                  <a:lnTo>
                    <a:pt x="250240" y="194716"/>
                  </a:lnTo>
                  <a:lnTo>
                    <a:pt x="250240" y="187566"/>
                  </a:lnTo>
                  <a:lnTo>
                    <a:pt x="250240" y="180416"/>
                  </a:lnTo>
                  <a:close/>
                </a:path>
                <a:path w="474980" h="474980">
                  <a:moveTo>
                    <a:pt x="260832" y="356171"/>
                  </a:moveTo>
                  <a:lnTo>
                    <a:pt x="258991" y="347002"/>
                  </a:lnTo>
                  <a:lnTo>
                    <a:pt x="253936" y="339521"/>
                  </a:lnTo>
                  <a:lnTo>
                    <a:pt x="246456" y="334479"/>
                  </a:lnTo>
                  <a:lnTo>
                    <a:pt x="237274" y="332625"/>
                  </a:lnTo>
                  <a:lnTo>
                    <a:pt x="228117" y="334479"/>
                  </a:lnTo>
                  <a:lnTo>
                    <a:pt x="220624" y="339521"/>
                  </a:lnTo>
                  <a:lnTo>
                    <a:pt x="215582" y="347002"/>
                  </a:lnTo>
                  <a:lnTo>
                    <a:pt x="213728" y="356171"/>
                  </a:lnTo>
                  <a:lnTo>
                    <a:pt x="215582" y="365340"/>
                  </a:lnTo>
                  <a:lnTo>
                    <a:pt x="220624" y="372833"/>
                  </a:lnTo>
                  <a:lnTo>
                    <a:pt x="228117" y="377875"/>
                  </a:lnTo>
                  <a:lnTo>
                    <a:pt x="237274" y="379717"/>
                  </a:lnTo>
                  <a:lnTo>
                    <a:pt x="246456" y="377875"/>
                  </a:lnTo>
                  <a:lnTo>
                    <a:pt x="253936" y="372833"/>
                  </a:lnTo>
                  <a:lnTo>
                    <a:pt x="258991" y="365340"/>
                  </a:lnTo>
                  <a:lnTo>
                    <a:pt x="260832" y="356171"/>
                  </a:lnTo>
                  <a:close/>
                </a:path>
                <a:path w="474980" h="474980">
                  <a:moveTo>
                    <a:pt x="260845" y="118402"/>
                  </a:moveTo>
                  <a:lnTo>
                    <a:pt x="258991" y="109245"/>
                  </a:lnTo>
                  <a:lnTo>
                    <a:pt x="253936" y="101752"/>
                  </a:lnTo>
                  <a:lnTo>
                    <a:pt x="246456" y="96710"/>
                  </a:lnTo>
                  <a:lnTo>
                    <a:pt x="237286" y="94856"/>
                  </a:lnTo>
                  <a:lnTo>
                    <a:pt x="228117" y="96710"/>
                  </a:lnTo>
                  <a:lnTo>
                    <a:pt x="220637" y="101752"/>
                  </a:lnTo>
                  <a:lnTo>
                    <a:pt x="215582" y="109245"/>
                  </a:lnTo>
                  <a:lnTo>
                    <a:pt x="213728" y="118402"/>
                  </a:lnTo>
                  <a:lnTo>
                    <a:pt x="215582" y="127584"/>
                  </a:lnTo>
                  <a:lnTo>
                    <a:pt x="220637" y="135064"/>
                  </a:lnTo>
                  <a:lnTo>
                    <a:pt x="228117" y="140119"/>
                  </a:lnTo>
                  <a:lnTo>
                    <a:pt x="237286" y="141960"/>
                  </a:lnTo>
                  <a:lnTo>
                    <a:pt x="246456" y="140119"/>
                  </a:lnTo>
                  <a:lnTo>
                    <a:pt x="253936" y="135064"/>
                  </a:lnTo>
                  <a:lnTo>
                    <a:pt x="258991" y="127584"/>
                  </a:lnTo>
                  <a:lnTo>
                    <a:pt x="260845" y="118402"/>
                  </a:lnTo>
                  <a:close/>
                </a:path>
                <a:path w="474980" h="474980">
                  <a:moveTo>
                    <a:pt x="268693" y="443166"/>
                  </a:moveTo>
                  <a:lnTo>
                    <a:pt x="266230" y="430936"/>
                  </a:lnTo>
                  <a:lnTo>
                    <a:pt x="259499" y="420954"/>
                  </a:lnTo>
                  <a:lnTo>
                    <a:pt x="249516" y="414223"/>
                  </a:lnTo>
                  <a:lnTo>
                    <a:pt x="237286" y="411746"/>
                  </a:lnTo>
                  <a:lnTo>
                    <a:pt x="225069" y="414223"/>
                  </a:lnTo>
                  <a:lnTo>
                    <a:pt x="215074" y="420954"/>
                  </a:lnTo>
                  <a:lnTo>
                    <a:pt x="208343" y="430936"/>
                  </a:lnTo>
                  <a:lnTo>
                    <a:pt x="205879" y="443166"/>
                  </a:lnTo>
                  <a:lnTo>
                    <a:pt x="208343" y="455396"/>
                  </a:lnTo>
                  <a:lnTo>
                    <a:pt x="215074" y="465378"/>
                  </a:lnTo>
                  <a:lnTo>
                    <a:pt x="225069" y="472109"/>
                  </a:lnTo>
                  <a:lnTo>
                    <a:pt x="237286" y="474573"/>
                  </a:lnTo>
                  <a:lnTo>
                    <a:pt x="249516" y="472109"/>
                  </a:lnTo>
                  <a:lnTo>
                    <a:pt x="259499" y="465378"/>
                  </a:lnTo>
                  <a:lnTo>
                    <a:pt x="266230" y="455396"/>
                  </a:lnTo>
                  <a:lnTo>
                    <a:pt x="268693" y="443166"/>
                  </a:lnTo>
                  <a:close/>
                </a:path>
                <a:path w="474980" h="474980">
                  <a:moveTo>
                    <a:pt x="268693" y="31419"/>
                  </a:moveTo>
                  <a:lnTo>
                    <a:pt x="266230" y="19189"/>
                  </a:lnTo>
                  <a:lnTo>
                    <a:pt x="259486" y="9207"/>
                  </a:lnTo>
                  <a:lnTo>
                    <a:pt x="249504" y="2476"/>
                  </a:lnTo>
                  <a:lnTo>
                    <a:pt x="237274" y="0"/>
                  </a:lnTo>
                  <a:lnTo>
                    <a:pt x="225056" y="2476"/>
                  </a:lnTo>
                  <a:lnTo>
                    <a:pt x="215074" y="9207"/>
                  </a:lnTo>
                  <a:lnTo>
                    <a:pt x="208343" y="19189"/>
                  </a:lnTo>
                  <a:lnTo>
                    <a:pt x="205879" y="31419"/>
                  </a:lnTo>
                  <a:lnTo>
                    <a:pt x="208343" y="43649"/>
                  </a:lnTo>
                  <a:lnTo>
                    <a:pt x="215074" y="53632"/>
                  </a:lnTo>
                  <a:lnTo>
                    <a:pt x="225056" y="60363"/>
                  </a:lnTo>
                  <a:lnTo>
                    <a:pt x="237274" y="62826"/>
                  </a:lnTo>
                  <a:lnTo>
                    <a:pt x="249504" y="60363"/>
                  </a:lnTo>
                  <a:lnTo>
                    <a:pt x="259486" y="53632"/>
                  </a:lnTo>
                  <a:lnTo>
                    <a:pt x="266230" y="43649"/>
                  </a:lnTo>
                  <a:lnTo>
                    <a:pt x="268693" y="31419"/>
                  </a:lnTo>
                  <a:close/>
                </a:path>
                <a:path w="474980" h="474980">
                  <a:moveTo>
                    <a:pt x="295148" y="262432"/>
                  </a:moveTo>
                  <a:lnTo>
                    <a:pt x="293027" y="254508"/>
                  </a:lnTo>
                  <a:lnTo>
                    <a:pt x="280631" y="247357"/>
                  </a:lnTo>
                  <a:lnTo>
                    <a:pt x="272707" y="249478"/>
                  </a:lnTo>
                  <a:lnTo>
                    <a:pt x="265544" y="261874"/>
                  </a:lnTo>
                  <a:lnTo>
                    <a:pt x="267677" y="269798"/>
                  </a:lnTo>
                  <a:lnTo>
                    <a:pt x="273875" y="273380"/>
                  </a:lnTo>
                  <a:lnTo>
                    <a:pt x="280073" y="276961"/>
                  </a:lnTo>
                  <a:lnTo>
                    <a:pt x="287985" y="274828"/>
                  </a:lnTo>
                  <a:lnTo>
                    <a:pt x="295148" y="262432"/>
                  </a:lnTo>
                  <a:close/>
                </a:path>
                <a:path w="474980" h="474980">
                  <a:moveTo>
                    <a:pt x="295148" y="212153"/>
                  </a:moveTo>
                  <a:lnTo>
                    <a:pt x="287985" y="199758"/>
                  </a:lnTo>
                  <a:lnTo>
                    <a:pt x="280073" y="197624"/>
                  </a:lnTo>
                  <a:lnTo>
                    <a:pt x="267677" y="204774"/>
                  </a:lnTo>
                  <a:lnTo>
                    <a:pt x="265557" y="212699"/>
                  </a:lnTo>
                  <a:lnTo>
                    <a:pt x="272707" y="225107"/>
                  </a:lnTo>
                  <a:lnTo>
                    <a:pt x="280631" y="227228"/>
                  </a:lnTo>
                  <a:lnTo>
                    <a:pt x="286829" y="223647"/>
                  </a:lnTo>
                  <a:lnTo>
                    <a:pt x="293027" y="220065"/>
                  </a:lnTo>
                  <a:lnTo>
                    <a:pt x="295148" y="212153"/>
                  </a:lnTo>
                  <a:close/>
                </a:path>
                <a:path w="474980" h="474980">
                  <a:moveTo>
                    <a:pt x="344893" y="153225"/>
                  </a:moveTo>
                  <a:lnTo>
                    <a:pt x="343179" y="144360"/>
                  </a:lnTo>
                  <a:lnTo>
                    <a:pt x="338010" y="136575"/>
                  </a:lnTo>
                  <a:lnTo>
                    <a:pt x="330212" y="131394"/>
                  </a:lnTo>
                  <a:lnTo>
                    <a:pt x="321348" y="129667"/>
                  </a:lnTo>
                  <a:lnTo>
                    <a:pt x="312483" y="131394"/>
                  </a:lnTo>
                  <a:lnTo>
                    <a:pt x="304698" y="136575"/>
                  </a:lnTo>
                  <a:lnTo>
                    <a:pt x="299516" y="144360"/>
                  </a:lnTo>
                  <a:lnTo>
                    <a:pt x="297789" y="153225"/>
                  </a:lnTo>
                  <a:lnTo>
                    <a:pt x="299516" y="162090"/>
                  </a:lnTo>
                  <a:lnTo>
                    <a:pt x="304698" y="169887"/>
                  </a:lnTo>
                  <a:lnTo>
                    <a:pt x="312483" y="175056"/>
                  </a:lnTo>
                  <a:lnTo>
                    <a:pt x="321348" y="176784"/>
                  </a:lnTo>
                  <a:lnTo>
                    <a:pt x="330212" y="175056"/>
                  </a:lnTo>
                  <a:lnTo>
                    <a:pt x="338010" y="169887"/>
                  </a:lnTo>
                  <a:lnTo>
                    <a:pt x="343179" y="162090"/>
                  </a:lnTo>
                  <a:lnTo>
                    <a:pt x="344893" y="153225"/>
                  </a:lnTo>
                  <a:close/>
                </a:path>
                <a:path w="474980" h="474980">
                  <a:moveTo>
                    <a:pt x="344906" y="321348"/>
                  </a:moveTo>
                  <a:lnTo>
                    <a:pt x="343179" y="312496"/>
                  </a:lnTo>
                  <a:lnTo>
                    <a:pt x="337997" y="304698"/>
                  </a:lnTo>
                  <a:lnTo>
                    <a:pt x="330212" y="299529"/>
                  </a:lnTo>
                  <a:lnTo>
                    <a:pt x="321348" y="297802"/>
                  </a:lnTo>
                  <a:lnTo>
                    <a:pt x="312483" y="299529"/>
                  </a:lnTo>
                  <a:lnTo>
                    <a:pt x="304698" y="304698"/>
                  </a:lnTo>
                  <a:lnTo>
                    <a:pt x="299516" y="312496"/>
                  </a:lnTo>
                  <a:lnTo>
                    <a:pt x="297802" y="321348"/>
                  </a:lnTo>
                  <a:lnTo>
                    <a:pt x="299516" y="330212"/>
                  </a:lnTo>
                  <a:lnTo>
                    <a:pt x="304698" y="338010"/>
                  </a:lnTo>
                  <a:lnTo>
                    <a:pt x="312483" y="343179"/>
                  </a:lnTo>
                  <a:lnTo>
                    <a:pt x="321348" y="344906"/>
                  </a:lnTo>
                  <a:lnTo>
                    <a:pt x="330212" y="343179"/>
                  </a:lnTo>
                  <a:lnTo>
                    <a:pt x="337997" y="338010"/>
                  </a:lnTo>
                  <a:lnTo>
                    <a:pt x="343179" y="330212"/>
                  </a:lnTo>
                  <a:lnTo>
                    <a:pt x="344906" y="321348"/>
                  </a:lnTo>
                  <a:close/>
                </a:path>
                <a:path w="474980" h="474980">
                  <a:moveTo>
                    <a:pt x="371398" y="411695"/>
                  </a:moveTo>
                  <a:lnTo>
                    <a:pt x="367423" y="399872"/>
                  </a:lnTo>
                  <a:lnTo>
                    <a:pt x="359168" y="390525"/>
                  </a:lnTo>
                  <a:lnTo>
                    <a:pt x="348348" y="385241"/>
                  </a:lnTo>
                  <a:lnTo>
                    <a:pt x="336346" y="384403"/>
                  </a:lnTo>
                  <a:lnTo>
                    <a:pt x="324523" y="388391"/>
                  </a:lnTo>
                  <a:lnTo>
                    <a:pt x="315163" y="396633"/>
                  </a:lnTo>
                  <a:lnTo>
                    <a:pt x="309880" y="407454"/>
                  </a:lnTo>
                  <a:lnTo>
                    <a:pt x="309054" y="419468"/>
                  </a:lnTo>
                  <a:lnTo>
                    <a:pt x="313016" y="431292"/>
                  </a:lnTo>
                  <a:lnTo>
                    <a:pt x="321271" y="440639"/>
                  </a:lnTo>
                  <a:lnTo>
                    <a:pt x="332092" y="445922"/>
                  </a:lnTo>
                  <a:lnTo>
                    <a:pt x="344106" y="446760"/>
                  </a:lnTo>
                  <a:lnTo>
                    <a:pt x="355917" y="442785"/>
                  </a:lnTo>
                  <a:lnTo>
                    <a:pt x="365277" y="434530"/>
                  </a:lnTo>
                  <a:lnTo>
                    <a:pt x="370560" y="423710"/>
                  </a:lnTo>
                  <a:lnTo>
                    <a:pt x="371398" y="411695"/>
                  </a:lnTo>
                  <a:close/>
                </a:path>
                <a:path w="474980" h="474980">
                  <a:moveTo>
                    <a:pt x="371398" y="62877"/>
                  </a:moveTo>
                  <a:lnTo>
                    <a:pt x="370560" y="50863"/>
                  </a:lnTo>
                  <a:lnTo>
                    <a:pt x="365277" y="40055"/>
                  </a:lnTo>
                  <a:lnTo>
                    <a:pt x="355930" y="31800"/>
                  </a:lnTo>
                  <a:lnTo>
                    <a:pt x="344106" y="27825"/>
                  </a:lnTo>
                  <a:lnTo>
                    <a:pt x="332092" y="28663"/>
                  </a:lnTo>
                  <a:lnTo>
                    <a:pt x="321271" y="33934"/>
                  </a:lnTo>
                  <a:lnTo>
                    <a:pt x="313029" y="43294"/>
                  </a:lnTo>
                  <a:lnTo>
                    <a:pt x="309054" y="55118"/>
                  </a:lnTo>
                  <a:lnTo>
                    <a:pt x="309892" y="67132"/>
                  </a:lnTo>
                  <a:lnTo>
                    <a:pt x="315163" y="77952"/>
                  </a:lnTo>
                  <a:lnTo>
                    <a:pt x="324523" y="86194"/>
                  </a:lnTo>
                  <a:lnTo>
                    <a:pt x="336346" y="90170"/>
                  </a:lnTo>
                  <a:lnTo>
                    <a:pt x="348348" y="89331"/>
                  </a:lnTo>
                  <a:lnTo>
                    <a:pt x="359168" y="84061"/>
                  </a:lnTo>
                  <a:lnTo>
                    <a:pt x="367423" y="74701"/>
                  </a:lnTo>
                  <a:lnTo>
                    <a:pt x="371398" y="62877"/>
                  </a:lnTo>
                  <a:close/>
                </a:path>
                <a:path w="474980" h="474980">
                  <a:moveTo>
                    <a:pt x="379717" y="237286"/>
                  </a:moveTo>
                  <a:lnTo>
                    <a:pt x="377863" y="228117"/>
                  </a:lnTo>
                  <a:lnTo>
                    <a:pt x="372821" y="220637"/>
                  </a:lnTo>
                  <a:lnTo>
                    <a:pt x="365340" y="215582"/>
                  </a:lnTo>
                  <a:lnTo>
                    <a:pt x="356171" y="213741"/>
                  </a:lnTo>
                  <a:lnTo>
                    <a:pt x="347002" y="215582"/>
                  </a:lnTo>
                  <a:lnTo>
                    <a:pt x="339509" y="220637"/>
                  </a:lnTo>
                  <a:lnTo>
                    <a:pt x="334467" y="228117"/>
                  </a:lnTo>
                  <a:lnTo>
                    <a:pt x="332625" y="237286"/>
                  </a:lnTo>
                  <a:lnTo>
                    <a:pt x="334467" y="246456"/>
                  </a:lnTo>
                  <a:lnTo>
                    <a:pt x="339509" y="253949"/>
                  </a:lnTo>
                  <a:lnTo>
                    <a:pt x="347002" y="258991"/>
                  </a:lnTo>
                  <a:lnTo>
                    <a:pt x="356171" y="260845"/>
                  </a:lnTo>
                  <a:lnTo>
                    <a:pt x="365340" y="258991"/>
                  </a:lnTo>
                  <a:lnTo>
                    <a:pt x="372821" y="253949"/>
                  </a:lnTo>
                  <a:lnTo>
                    <a:pt x="377863" y="246456"/>
                  </a:lnTo>
                  <a:lnTo>
                    <a:pt x="379717" y="237286"/>
                  </a:lnTo>
                  <a:close/>
                </a:path>
                <a:path w="474980" h="474980">
                  <a:moveTo>
                    <a:pt x="446747" y="344106"/>
                  </a:moveTo>
                  <a:lnTo>
                    <a:pt x="445909" y="332092"/>
                  </a:lnTo>
                  <a:lnTo>
                    <a:pt x="440639" y="321284"/>
                  </a:lnTo>
                  <a:lnTo>
                    <a:pt x="431292" y="313029"/>
                  </a:lnTo>
                  <a:lnTo>
                    <a:pt x="419468" y="309054"/>
                  </a:lnTo>
                  <a:lnTo>
                    <a:pt x="407454" y="309892"/>
                  </a:lnTo>
                  <a:lnTo>
                    <a:pt x="396621" y="315175"/>
                  </a:lnTo>
                  <a:lnTo>
                    <a:pt x="388378" y="324523"/>
                  </a:lnTo>
                  <a:lnTo>
                    <a:pt x="384403" y="336346"/>
                  </a:lnTo>
                  <a:lnTo>
                    <a:pt x="385241" y="348361"/>
                  </a:lnTo>
                  <a:lnTo>
                    <a:pt x="390525" y="359181"/>
                  </a:lnTo>
                  <a:lnTo>
                    <a:pt x="399872" y="367423"/>
                  </a:lnTo>
                  <a:lnTo>
                    <a:pt x="411695" y="371398"/>
                  </a:lnTo>
                  <a:lnTo>
                    <a:pt x="423710" y="370560"/>
                  </a:lnTo>
                  <a:lnTo>
                    <a:pt x="434530" y="365290"/>
                  </a:lnTo>
                  <a:lnTo>
                    <a:pt x="442772" y="355930"/>
                  </a:lnTo>
                  <a:lnTo>
                    <a:pt x="446747" y="344106"/>
                  </a:lnTo>
                  <a:close/>
                </a:path>
                <a:path w="474980" h="474980">
                  <a:moveTo>
                    <a:pt x="446747" y="130467"/>
                  </a:moveTo>
                  <a:lnTo>
                    <a:pt x="442772" y="118656"/>
                  </a:lnTo>
                  <a:lnTo>
                    <a:pt x="434530" y="109296"/>
                  </a:lnTo>
                  <a:lnTo>
                    <a:pt x="423710" y="104025"/>
                  </a:lnTo>
                  <a:lnTo>
                    <a:pt x="411695" y="103187"/>
                  </a:lnTo>
                  <a:lnTo>
                    <a:pt x="399872" y="107162"/>
                  </a:lnTo>
                  <a:lnTo>
                    <a:pt x="390525" y="115404"/>
                  </a:lnTo>
                  <a:lnTo>
                    <a:pt x="385241" y="126225"/>
                  </a:lnTo>
                  <a:lnTo>
                    <a:pt x="384403" y="138239"/>
                  </a:lnTo>
                  <a:lnTo>
                    <a:pt x="388378" y="150050"/>
                  </a:lnTo>
                  <a:lnTo>
                    <a:pt x="396633" y="159410"/>
                  </a:lnTo>
                  <a:lnTo>
                    <a:pt x="407454" y="164693"/>
                  </a:lnTo>
                  <a:lnTo>
                    <a:pt x="419455" y="165531"/>
                  </a:lnTo>
                  <a:lnTo>
                    <a:pt x="431279" y="161556"/>
                  </a:lnTo>
                  <a:lnTo>
                    <a:pt x="440639" y="153301"/>
                  </a:lnTo>
                  <a:lnTo>
                    <a:pt x="445909" y="142481"/>
                  </a:lnTo>
                  <a:lnTo>
                    <a:pt x="446747" y="130467"/>
                  </a:lnTo>
                  <a:close/>
                </a:path>
                <a:path w="474980" h="474980">
                  <a:moveTo>
                    <a:pt x="474573" y="237286"/>
                  </a:moveTo>
                  <a:lnTo>
                    <a:pt x="472109" y="225069"/>
                  </a:lnTo>
                  <a:lnTo>
                    <a:pt x="465366" y="215087"/>
                  </a:lnTo>
                  <a:lnTo>
                    <a:pt x="455383" y="208356"/>
                  </a:lnTo>
                  <a:lnTo>
                    <a:pt x="443153" y="205879"/>
                  </a:lnTo>
                  <a:lnTo>
                    <a:pt x="430936" y="208356"/>
                  </a:lnTo>
                  <a:lnTo>
                    <a:pt x="420941" y="215087"/>
                  </a:lnTo>
                  <a:lnTo>
                    <a:pt x="414210" y="225069"/>
                  </a:lnTo>
                  <a:lnTo>
                    <a:pt x="411746" y="237286"/>
                  </a:lnTo>
                  <a:lnTo>
                    <a:pt x="414210" y="249516"/>
                  </a:lnTo>
                  <a:lnTo>
                    <a:pt x="420941" y="259499"/>
                  </a:lnTo>
                  <a:lnTo>
                    <a:pt x="430936" y="266230"/>
                  </a:lnTo>
                  <a:lnTo>
                    <a:pt x="443153" y="268693"/>
                  </a:lnTo>
                  <a:lnTo>
                    <a:pt x="455383" y="266230"/>
                  </a:lnTo>
                  <a:lnTo>
                    <a:pt x="465366" y="259499"/>
                  </a:lnTo>
                  <a:lnTo>
                    <a:pt x="472109" y="249516"/>
                  </a:lnTo>
                  <a:lnTo>
                    <a:pt x="474573" y="237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448D2BD-D77D-EB95-A3BD-E8EACBE11735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  <a:solidFill>
            <a:schemeClr val="bg1"/>
          </a:solidFill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66B137A-A3B9-10EC-BDFC-F457D1BE89BC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DB0A5771-3B2C-E16E-54E8-2560C21CFB6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96220687-5C92-6FEA-A66B-D21487EA1EC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AF08858-14F0-2ED0-FE94-5D1148037BAD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CC41A12C-F34B-72EB-2013-599B949D191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7D93C8E5-0A09-9DE8-137C-E66BF4F4295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9" name="object 3">
            <a:extLst>
              <a:ext uri="{FF2B5EF4-FFF2-40B4-BE49-F238E27FC236}">
                <a16:creationId xmlns:a16="http://schemas.microsoft.com/office/drawing/2014/main" id="{AB9422F4-0321-8ECA-0D22-010A3CA0EA84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05818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Copy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037F132-1611-0072-6721-0381F09CD5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sX0" fmla="*/ 4440314 w 12192000"/>
              <a:gd name="csY0" fmla="*/ 763589 h 6858000"/>
              <a:gd name="csX1" fmla="*/ 4332289 w 12192000"/>
              <a:gd name="csY1" fmla="*/ 871613 h 6858000"/>
              <a:gd name="csX2" fmla="*/ 4332289 w 12192000"/>
              <a:gd name="csY2" fmla="*/ 5984801 h 6858000"/>
              <a:gd name="csX3" fmla="*/ 4440314 w 12192000"/>
              <a:gd name="csY3" fmla="*/ 6092825 h 6858000"/>
              <a:gd name="csX4" fmla="*/ 11783939 w 12192000"/>
              <a:gd name="csY4" fmla="*/ 6092825 h 6858000"/>
              <a:gd name="csX5" fmla="*/ 11891963 w 12192000"/>
              <a:gd name="csY5" fmla="*/ 5984801 h 6858000"/>
              <a:gd name="csX6" fmla="*/ 11891963 w 12192000"/>
              <a:gd name="csY6" fmla="*/ 871613 h 6858000"/>
              <a:gd name="csX7" fmla="*/ 11783939 w 12192000"/>
              <a:gd name="csY7" fmla="*/ 763589 h 6858000"/>
              <a:gd name="csX8" fmla="*/ 0 w 12192000"/>
              <a:gd name="csY8" fmla="*/ 0 h 6858000"/>
              <a:gd name="csX9" fmla="*/ 12192000 w 12192000"/>
              <a:gd name="csY9" fmla="*/ 0 h 6858000"/>
              <a:gd name="csX10" fmla="*/ 12192000 w 12192000"/>
              <a:gd name="csY10" fmla="*/ 6858000 h 6858000"/>
              <a:gd name="csX11" fmla="*/ 0 w 12192000"/>
              <a:gd name="csY11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2192000" h="6858000">
                <a:moveTo>
                  <a:pt x="4440314" y="763589"/>
                </a:moveTo>
                <a:cubicBezTo>
                  <a:pt x="4380653" y="763589"/>
                  <a:pt x="4332289" y="811953"/>
                  <a:pt x="4332289" y="871613"/>
                </a:cubicBezTo>
                <a:lnTo>
                  <a:pt x="4332289" y="5984801"/>
                </a:lnTo>
                <a:cubicBezTo>
                  <a:pt x="4332289" y="6044461"/>
                  <a:pt x="4380653" y="6092825"/>
                  <a:pt x="4440314" y="6092825"/>
                </a:cubicBezTo>
                <a:lnTo>
                  <a:pt x="11783939" y="6092825"/>
                </a:lnTo>
                <a:cubicBezTo>
                  <a:pt x="11843599" y="6092825"/>
                  <a:pt x="11891963" y="6044461"/>
                  <a:pt x="11891963" y="5984801"/>
                </a:cubicBezTo>
                <a:lnTo>
                  <a:pt x="11891963" y="871613"/>
                </a:lnTo>
                <a:cubicBezTo>
                  <a:pt x="11891963" y="811953"/>
                  <a:pt x="11843599" y="763589"/>
                  <a:pt x="11783939" y="763589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60" y="1153525"/>
            <a:ext cx="3529166" cy="465103"/>
          </a:xfrm>
        </p:spPr>
        <p:txBody>
          <a:bodyPr/>
          <a:lstStyle>
            <a:lvl1pPr>
              <a:defRPr sz="32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3529166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2E8299F-10C0-3D54-F5EA-775E5DDC85E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679951" y="2095500"/>
            <a:ext cx="6724650" cy="36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F51DF53-7A57-7591-630A-332C29C31FCA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679950" y="1153525"/>
            <a:ext cx="6724650" cy="63204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2200" b="0">
                <a:solidFill>
                  <a:schemeClr val="tx1"/>
                </a:solidFill>
                <a:latin typeface="+mj-lt"/>
                <a:cs typeface="UKCEH Suisse Medium" panose="020B06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heading 22p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F945F9-0E47-5AD3-7D09-78C317E628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2095500"/>
            <a:ext cx="3529166" cy="36639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>
              <a:defRPr sz="1500"/>
            </a:lvl6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C91007F-1B66-BF9B-46C2-CE94DBF659AA}"/>
              </a:ext>
            </a:extLst>
          </p:cNvPr>
          <p:cNvSpPr>
            <a:spLocks noChangeAspect="1"/>
          </p:cNvSpPr>
          <p:nvPr userDrawn="1"/>
        </p:nvSpPr>
        <p:spPr>
          <a:xfrm>
            <a:off x="120673" y="601896"/>
            <a:ext cx="60193" cy="60193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B2F9D36-AF5A-BEA4-C007-6AAF3914BB4C}"/>
              </a:ext>
            </a:extLst>
          </p:cNvPr>
          <p:cNvSpPr>
            <a:spLocks noChangeAspect="1"/>
          </p:cNvSpPr>
          <p:nvPr userDrawn="1"/>
        </p:nvSpPr>
        <p:spPr>
          <a:xfrm>
            <a:off x="12019937" y="601896"/>
            <a:ext cx="60193" cy="60193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7E7F73EB-0437-6B0A-FDE4-C39194656996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1" name="object 8">
            <a:extLst>
              <a:ext uri="{FF2B5EF4-FFF2-40B4-BE49-F238E27FC236}">
                <a16:creationId xmlns:a16="http://schemas.microsoft.com/office/drawing/2014/main" id="{6386E776-22C5-7B20-519A-18FEEEEAFD6C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2" name="object 9">
            <a:extLst>
              <a:ext uri="{FF2B5EF4-FFF2-40B4-BE49-F238E27FC236}">
                <a16:creationId xmlns:a16="http://schemas.microsoft.com/office/drawing/2014/main" id="{442C297F-BB52-0230-35F2-7933423C4B91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32640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Light Chart Comparison 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65FD1440-4935-7D49-646D-2208403477E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custGeom>
            <a:avLst/>
            <a:gdLst>
              <a:gd name="csX0" fmla="*/ 387755 w 12192000"/>
              <a:gd name="csY0" fmla="*/ 782151 h 6858000"/>
              <a:gd name="csX1" fmla="*/ 277813 w 12192000"/>
              <a:gd name="csY1" fmla="*/ 892093 h 6858000"/>
              <a:gd name="csX2" fmla="*/ 277813 w 12192000"/>
              <a:gd name="csY2" fmla="*/ 6451195 h 6858000"/>
              <a:gd name="csX3" fmla="*/ 387755 w 12192000"/>
              <a:gd name="csY3" fmla="*/ 6561137 h 6858000"/>
              <a:gd name="csX4" fmla="*/ 5899978 w 12192000"/>
              <a:gd name="csY4" fmla="*/ 6561137 h 6858000"/>
              <a:gd name="csX5" fmla="*/ 6009920 w 12192000"/>
              <a:gd name="csY5" fmla="*/ 6451195 h 6858000"/>
              <a:gd name="csX6" fmla="*/ 6009920 w 12192000"/>
              <a:gd name="csY6" fmla="*/ 892093 h 6858000"/>
              <a:gd name="csX7" fmla="*/ 5899978 w 12192000"/>
              <a:gd name="csY7" fmla="*/ 782151 h 6858000"/>
              <a:gd name="csX8" fmla="*/ 6097379 w 12192000"/>
              <a:gd name="csY8" fmla="*/ 782150 h 6858000"/>
              <a:gd name="csX9" fmla="*/ 6097379 w 12192000"/>
              <a:gd name="csY9" fmla="*/ 6561136 h 6858000"/>
              <a:gd name="csX10" fmla="*/ 6299280 w 12192000"/>
              <a:gd name="csY10" fmla="*/ 6561136 h 6858000"/>
              <a:gd name="csX11" fmla="*/ 6299285 w 12192000"/>
              <a:gd name="csY11" fmla="*/ 6561137 h 6858000"/>
              <a:gd name="csX12" fmla="*/ 11782598 w 12192000"/>
              <a:gd name="csY12" fmla="*/ 6561137 h 6858000"/>
              <a:gd name="csX13" fmla="*/ 11891963 w 12192000"/>
              <a:gd name="csY13" fmla="*/ 6451772 h 6858000"/>
              <a:gd name="csX14" fmla="*/ 11891963 w 12192000"/>
              <a:gd name="csY14" fmla="*/ 891515 h 6858000"/>
              <a:gd name="csX15" fmla="*/ 11782598 w 12192000"/>
              <a:gd name="csY15" fmla="*/ 782150 h 6858000"/>
              <a:gd name="csX16" fmla="*/ 7625300 w 12192000"/>
              <a:gd name="csY16" fmla="*/ 782150 h 6858000"/>
              <a:gd name="csX17" fmla="*/ 6299285 w 12192000"/>
              <a:gd name="csY17" fmla="*/ 782150 h 6858000"/>
              <a:gd name="csX18" fmla="*/ 0 w 12192000"/>
              <a:gd name="csY18" fmla="*/ 0 h 6858000"/>
              <a:gd name="csX19" fmla="*/ 12192000 w 12192000"/>
              <a:gd name="csY19" fmla="*/ 0 h 6858000"/>
              <a:gd name="csX20" fmla="*/ 12192000 w 12192000"/>
              <a:gd name="csY20" fmla="*/ 6858000 h 6858000"/>
              <a:gd name="csX21" fmla="*/ 0 w 12192000"/>
              <a:gd name="csY21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2192000" h="6858000">
                <a:moveTo>
                  <a:pt x="387755" y="782151"/>
                </a:moveTo>
                <a:cubicBezTo>
                  <a:pt x="327036" y="782151"/>
                  <a:pt x="277813" y="831374"/>
                  <a:pt x="277813" y="892093"/>
                </a:cubicBezTo>
                <a:lnTo>
                  <a:pt x="277813" y="6451195"/>
                </a:lnTo>
                <a:cubicBezTo>
                  <a:pt x="277813" y="6511914"/>
                  <a:pt x="327036" y="6561137"/>
                  <a:pt x="387755" y="6561137"/>
                </a:cubicBezTo>
                <a:lnTo>
                  <a:pt x="5899978" y="6561137"/>
                </a:lnTo>
                <a:cubicBezTo>
                  <a:pt x="5960697" y="6561137"/>
                  <a:pt x="6009920" y="6511914"/>
                  <a:pt x="6009920" y="6451195"/>
                </a:cubicBezTo>
                <a:lnTo>
                  <a:pt x="6009920" y="892093"/>
                </a:lnTo>
                <a:cubicBezTo>
                  <a:pt x="6009920" y="831374"/>
                  <a:pt x="5960697" y="782151"/>
                  <a:pt x="5899978" y="782151"/>
                </a:cubicBezTo>
                <a:close/>
                <a:moveTo>
                  <a:pt x="6097379" y="782150"/>
                </a:moveTo>
                <a:lnTo>
                  <a:pt x="6097379" y="6561136"/>
                </a:lnTo>
                <a:lnTo>
                  <a:pt x="6299280" y="6561136"/>
                </a:lnTo>
                <a:lnTo>
                  <a:pt x="6299285" y="6561137"/>
                </a:lnTo>
                <a:lnTo>
                  <a:pt x="11782598" y="6561137"/>
                </a:lnTo>
                <a:cubicBezTo>
                  <a:pt x="11842999" y="6561137"/>
                  <a:pt x="11891963" y="6512173"/>
                  <a:pt x="11891963" y="6451772"/>
                </a:cubicBezTo>
                <a:lnTo>
                  <a:pt x="11891963" y="891515"/>
                </a:lnTo>
                <a:cubicBezTo>
                  <a:pt x="11891963" y="831114"/>
                  <a:pt x="11842999" y="782150"/>
                  <a:pt x="11782598" y="782150"/>
                </a:cubicBezTo>
                <a:lnTo>
                  <a:pt x="7625300" y="782150"/>
                </a:lnTo>
                <a:lnTo>
                  <a:pt x="6299285" y="7821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B3B549B9-2805-2306-462A-8C93C2786CA6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F5D3FF9-B3BC-46B0-C98B-8A1ADD142231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1A88413-2D3D-4E73-2702-1DBAA70E1C4A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5CDB6DB0-D403-F80C-CFE3-E0102DA67D9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2BDA4C64-D991-F5F6-55F2-AFFC079C661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88984EE-F5FC-55FC-E678-6D0C4307C8EC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9CA07727-D72F-1CC7-1A32-B7FA43CC764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113ED8ED-9ABC-3146-AFF5-3141B3C3ECD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4" name="object 8">
            <a:extLst>
              <a:ext uri="{FF2B5EF4-FFF2-40B4-BE49-F238E27FC236}">
                <a16:creationId xmlns:a16="http://schemas.microsoft.com/office/drawing/2014/main" id="{2B4878A3-6CAE-64F7-6260-3E0A8145EDFC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5" name="object 9">
            <a:extLst>
              <a:ext uri="{FF2B5EF4-FFF2-40B4-BE49-F238E27FC236}">
                <a16:creationId xmlns:a16="http://schemas.microsoft.com/office/drawing/2014/main" id="{F5896C94-88BE-5C56-9599-8AE6E2A924F4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A25670B-5E91-CCE3-BD06-E0B317012F3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 flipH="1">
            <a:off x="6114063" y="782150"/>
            <a:ext cx="5819568" cy="5778986"/>
          </a:xfrm>
          <a:custGeom>
            <a:avLst/>
            <a:gdLst>
              <a:gd name="csX0" fmla="*/ 109942 w 5819568"/>
              <a:gd name="csY0" fmla="*/ 0 h 5778986"/>
              <a:gd name="csX1" fmla="*/ 779568 w 5819568"/>
              <a:gd name="csY1" fmla="*/ 0 h 5778986"/>
              <a:gd name="csX2" fmla="*/ 5622165 w 5819568"/>
              <a:gd name="csY2" fmla="*/ 0 h 5778986"/>
              <a:gd name="csX3" fmla="*/ 5819568 w 5819568"/>
              <a:gd name="csY3" fmla="*/ 0 h 5778986"/>
              <a:gd name="csX4" fmla="*/ 5819568 w 5819568"/>
              <a:gd name="csY4" fmla="*/ 5778986 h 5778986"/>
              <a:gd name="csX5" fmla="*/ 5622165 w 5819568"/>
              <a:gd name="csY5" fmla="*/ 5778986 h 5778986"/>
              <a:gd name="csX6" fmla="*/ 779568 w 5819568"/>
              <a:gd name="csY6" fmla="*/ 5778986 h 5778986"/>
              <a:gd name="csX7" fmla="*/ 109942 w 5819568"/>
              <a:gd name="csY7" fmla="*/ 5778986 h 5778986"/>
              <a:gd name="csX8" fmla="*/ 0 w 5819568"/>
              <a:gd name="csY8" fmla="*/ 5669044 h 5778986"/>
              <a:gd name="csX9" fmla="*/ 0 w 5819568"/>
              <a:gd name="csY9" fmla="*/ 109942 h 5778986"/>
              <a:gd name="csX10" fmla="*/ 109942 w 5819568"/>
              <a:gd name="csY10" fmla="*/ 0 h 577898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5819568" h="5778986">
                <a:moveTo>
                  <a:pt x="109942" y="0"/>
                </a:moveTo>
                <a:lnTo>
                  <a:pt x="779568" y="0"/>
                </a:lnTo>
                <a:lnTo>
                  <a:pt x="5622165" y="0"/>
                </a:lnTo>
                <a:lnTo>
                  <a:pt x="5819568" y="0"/>
                </a:lnTo>
                <a:lnTo>
                  <a:pt x="5819568" y="5778986"/>
                </a:lnTo>
                <a:lnTo>
                  <a:pt x="5622165" y="5778986"/>
                </a:lnTo>
                <a:lnTo>
                  <a:pt x="779568" y="5778986"/>
                </a:lnTo>
                <a:lnTo>
                  <a:pt x="109942" y="5778986"/>
                </a:lnTo>
                <a:cubicBezTo>
                  <a:pt x="49223" y="5778986"/>
                  <a:pt x="0" y="5729763"/>
                  <a:pt x="0" y="5669044"/>
                </a:cubicBezTo>
                <a:lnTo>
                  <a:pt x="0" y="109942"/>
                </a:lnTo>
                <a:cubicBezTo>
                  <a:pt x="0" y="49223"/>
                  <a:pt x="49223" y="0"/>
                  <a:pt x="109942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F9704BC-5034-C703-FB86-CF30172A02E8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3866" y="2095500"/>
            <a:ext cx="5040000" cy="2998789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6"/>
            <a:r>
              <a:rPr lang="en-US" dirty="0"/>
              <a:t>Body Copy 22pt</a:t>
            </a:r>
          </a:p>
          <a:p>
            <a:pPr lvl="7"/>
            <a:r>
              <a:rPr lang="en-US" dirty="0"/>
              <a:t>Bullet 22pt</a:t>
            </a:r>
          </a:p>
          <a:p>
            <a:pPr lvl="8"/>
            <a:r>
              <a:rPr lang="en-US" dirty="0"/>
              <a:t>Subheading 24pt 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A8F4AF7-AEAD-2C99-B0BC-A0F7468ACD9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23866" y="1071659"/>
            <a:ext cx="5040000" cy="63204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2200" b="0">
                <a:solidFill>
                  <a:schemeClr val="tx1"/>
                </a:solidFill>
                <a:latin typeface="+mj-lt"/>
                <a:cs typeface="UKCEH Suisse Medium" panose="020B06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heading 22pt </a:t>
            </a:r>
          </a:p>
        </p:txBody>
      </p:sp>
    </p:spTree>
    <p:extLst>
      <p:ext uri="{BB962C8B-B14F-4D97-AF65-F5344CB8AC3E}">
        <p14:creationId xmlns:p14="http://schemas.microsoft.com/office/powerpoint/2010/main" val="2322713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59" y="1153525"/>
            <a:ext cx="52992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 18pt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D6C190B-0185-73FD-A7E2-1D2F1C5DA4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5999" y="782150"/>
            <a:ext cx="5795963" cy="5778987"/>
          </a:xfrm>
          <a:custGeom>
            <a:avLst/>
            <a:gdLst>
              <a:gd name="connsiteX0" fmla="*/ 110841 w 5795963"/>
              <a:gd name="connsiteY0" fmla="*/ 0 h 5778987"/>
              <a:gd name="connsiteX1" fmla="*/ 5685122 w 5795963"/>
              <a:gd name="connsiteY1" fmla="*/ 0 h 5778987"/>
              <a:gd name="connsiteX2" fmla="*/ 5795963 w 5795963"/>
              <a:gd name="connsiteY2" fmla="*/ 110841 h 5778987"/>
              <a:gd name="connsiteX3" fmla="*/ 5795963 w 5795963"/>
              <a:gd name="connsiteY3" fmla="*/ 5668146 h 5778987"/>
              <a:gd name="connsiteX4" fmla="*/ 5685122 w 5795963"/>
              <a:gd name="connsiteY4" fmla="*/ 5778987 h 5778987"/>
              <a:gd name="connsiteX5" fmla="*/ 110841 w 5795963"/>
              <a:gd name="connsiteY5" fmla="*/ 5778987 h 5778987"/>
              <a:gd name="connsiteX6" fmla="*/ 0 w 5795963"/>
              <a:gd name="connsiteY6" fmla="*/ 5668146 h 5778987"/>
              <a:gd name="connsiteX7" fmla="*/ 0 w 5795963"/>
              <a:gd name="connsiteY7" fmla="*/ 110841 h 5778987"/>
              <a:gd name="connsiteX8" fmla="*/ 110841 w 5795963"/>
              <a:gd name="connsiteY8" fmla="*/ 0 h 5778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795963" h="5778987">
                <a:moveTo>
                  <a:pt x="110841" y="0"/>
                </a:moveTo>
                <a:lnTo>
                  <a:pt x="5685122" y="0"/>
                </a:lnTo>
                <a:cubicBezTo>
                  <a:pt x="5746338" y="0"/>
                  <a:pt x="5795963" y="49625"/>
                  <a:pt x="5795963" y="110841"/>
                </a:cubicBezTo>
                <a:lnTo>
                  <a:pt x="5795963" y="5668146"/>
                </a:lnTo>
                <a:cubicBezTo>
                  <a:pt x="5795963" y="5729362"/>
                  <a:pt x="5746338" y="5778987"/>
                  <a:pt x="5685122" y="5778987"/>
                </a:cubicBezTo>
                <a:lnTo>
                  <a:pt x="110841" y="5778987"/>
                </a:lnTo>
                <a:cubicBezTo>
                  <a:pt x="49625" y="5778987"/>
                  <a:pt x="0" y="5729362"/>
                  <a:pt x="0" y="5668146"/>
                </a:cubicBezTo>
                <a:lnTo>
                  <a:pt x="0" y="110841"/>
                </a:lnTo>
                <a:cubicBezTo>
                  <a:pt x="0" y="49625"/>
                  <a:pt x="49625" y="0"/>
                  <a:pt x="11084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09734846-0BFD-FDD7-C621-043B901E2DA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59" y="2095500"/>
            <a:ext cx="5310187" cy="36639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>
              <a:defRPr sz="2200"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72648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ject 11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476973" y="532347"/>
            <a:ext cx="5714592" cy="607118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EC763B1-4CBB-9747-FBB3-F524D99EF5C8}"/>
              </a:ext>
            </a:extLst>
          </p:cNvPr>
          <p:cNvGrpSpPr/>
          <p:nvPr userDrawn="1"/>
        </p:nvGrpSpPr>
        <p:grpSpPr>
          <a:xfrm>
            <a:off x="143595" y="135785"/>
            <a:ext cx="1089185" cy="288028"/>
            <a:chOff x="143595" y="135785"/>
            <a:chExt cx="1089185" cy="288028"/>
          </a:xfrm>
          <a:solidFill>
            <a:schemeClr val="bg1"/>
          </a:solidFill>
        </p:grpSpPr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11BC098D-8670-1613-A0B1-8B6FCABEC146}"/>
                </a:ext>
              </a:extLst>
            </p:cNvPr>
            <p:cNvSpPr/>
            <p:nvPr userDrawn="1"/>
          </p:nvSpPr>
          <p:spPr>
            <a:xfrm>
              <a:off x="478824" y="191457"/>
              <a:ext cx="753956" cy="175204"/>
            </a:xfrm>
            <a:custGeom>
              <a:avLst/>
              <a:gdLst/>
              <a:ahLst/>
              <a:cxnLst/>
              <a:rect l="l" t="t" r="r" b="b"/>
              <a:pathLst>
                <a:path w="1243330" h="288925">
                  <a:moveTo>
                    <a:pt x="39223" y="4994"/>
                  </a:moveTo>
                  <a:lnTo>
                    <a:pt x="0" y="4994"/>
                  </a:lnTo>
                  <a:lnTo>
                    <a:pt x="0" y="170361"/>
                  </a:lnTo>
                  <a:lnTo>
                    <a:pt x="6495" y="225537"/>
                  </a:lnTo>
                  <a:lnTo>
                    <a:pt x="26582" y="262179"/>
                  </a:lnTo>
                  <a:lnTo>
                    <a:pt x="61163" y="282523"/>
                  </a:lnTo>
                  <a:lnTo>
                    <a:pt x="111137" y="288807"/>
                  </a:lnTo>
                  <a:lnTo>
                    <a:pt x="162919" y="281285"/>
                  </a:lnTo>
                  <a:lnTo>
                    <a:pt x="197719" y="258621"/>
                  </a:lnTo>
                  <a:lnTo>
                    <a:pt x="199605" y="254966"/>
                  </a:lnTo>
                  <a:lnTo>
                    <a:pt x="111137" y="254966"/>
                  </a:lnTo>
                  <a:lnTo>
                    <a:pt x="77840" y="250140"/>
                  </a:lnTo>
                  <a:lnTo>
                    <a:pt x="55571" y="235401"/>
                  </a:lnTo>
                  <a:lnTo>
                    <a:pt x="43106" y="210350"/>
                  </a:lnTo>
                  <a:lnTo>
                    <a:pt x="39223" y="174591"/>
                  </a:lnTo>
                  <a:lnTo>
                    <a:pt x="39223" y="4994"/>
                  </a:lnTo>
                  <a:close/>
                </a:path>
                <a:path w="1243330" h="288925">
                  <a:moveTo>
                    <a:pt x="223438" y="4994"/>
                  </a:moveTo>
                  <a:lnTo>
                    <a:pt x="184214" y="4994"/>
                  </a:lnTo>
                  <a:lnTo>
                    <a:pt x="184214" y="170361"/>
                  </a:lnTo>
                  <a:lnTo>
                    <a:pt x="180314" y="206781"/>
                  </a:lnTo>
                  <a:lnTo>
                    <a:pt x="167725" y="233286"/>
                  </a:lnTo>
                  <a:lnTo>
                    <a:pt x="145111" y="249479"/>
                  </a:lnTo>
                  <a:lnTo>
                    <a:pt x="111137" y="254966"/>
                  </a:lnTo>
                  <a:lnTo>
                    <a:pt x="199605" y="254966"/>
                  </a:lnTo>
                  <a:lnTo>
                    <a:pt x="217302" y="220669"/>
                  </a:lnTo>
                  <a:lnTo>
                    <a:pt x="223438" y="167282"/>
                  </a:lnTo>
                  <a:lnTo>
                    <a:pt x="223438" y="4994"/>
                  </a:lnTo>
                  <a:close/>
                </a:path>
                <a:path w="1243330" h="288925">
                  <a:moveTo>
                    <a:pt x="313037" y="4994"/>
                  </a:moveTo>
                  <a:lnTo>
                    <a:pt x="273813" y="4994"/>
                  </a:lnTo>
                  <a:lnTo>
                    <a:pt x="273813" y="283802"/>
                  </a:lnTo>
                  <a:lnTo>
                    <a:pt x="313037" y="283802"/>
                  </a:lnTo>
                  <a:lnTo>
                    <a:pt x="313037" y="196130"/>
                  </a:lnTo>
                  <a:lnTo>
                    <a:pt x="356879" y="147670"/>
                  </a:lnTo>
                  <a:lnTo>
                    <a:pt x="403714" y="147670"/>
                  </a:lnTo>
                  <a:lnTo>
                    <a:pt x="402092" y="145367"/>
                  </a:lnTo>
                  <a:lnTo>
                    <a:pt x="313037" y="145367"/>
                  </a:lnTo>
                  <a:lnTo>
                    <a:pt x="313037" y="4994"/>
                  </a:lnTo>
                  <a:close/>
                </a:path>
                <a:path w="1243330" h="288925">
                  <a:moveTo>
                    <a:pt x="403714" y="147670"/>
                  </a:moveTo>
                  <a:lnTo>
                    <a:pt x="356879" y="147670"/>
                  </a:lnTo>
                  <a:lnTo>
                    <a:pt x="452635" y="283802"/>
                  </a:lnTo>
                  <a:lnTo>
                    <a:pt x="499555" y="283802"/>
                  </a:lnTo>
                  <a:lnTo>
                    <a:pt x="403714" y="147670"/>
                  </a:lnTo>
                  <a:close/>
                </a:path>
                <a:path w="1243330" h="288925">
                  <a:moveTo>
                    <a:pt x="487639" y="4994"/>
                  </a:moveTo>
                  <a:lnTo>
                    <a:pt x="438792" y="4994"/>
                  </a:lnTo>
                  <a:lnTo>
                    <a:pt x="313037" y="145367"/>
                  </a:lnTo>
                  <a:lnTo>
                    <a:pt x="402092" y="145367"/>
                  </a:lnTo>
                  <a:lnTo>
                    <a:pt x="383412" y="118834"/>
                  </a:lnTo>
                  <a:lnTo>
                    <a:pt x="487639" y="4994"/>
                  </a:lnTo>
                  <a:close/>
                </a:path>
                <a:path w="1243330" h="288925">
                  <a:moveTo>
                    <a:pt x="630692" y="0"/>
                  </a:moveTo>
                  <a:lnTo>
                    <a:pt x="587086" y="6688"/>
                  </a:lnTo>
                  <a:lnTo>
                    <a:pt x="551180" y="25818"/>
                  </a:lnTo>
                  <a:lnTo>
                    <a:pt x="524117" y="55986"/>
                  </a:lnTo>
                  <a:lnTo>
                    <a:pt x="507040" y="95790"/>
                  </a:lnTo>
                  <a:lnTo>
                    <a:pt x="501094" y="143828"/>
                  </a:lnTo>
                  <a:lnTo>
                    <a:pt x="506546" y="191167"/>
                  </a:lnTo>
                  <a:lnTo>
                    <a:pt x="506572" y="191394"/>
                  </a:lnTo>
                  <a:lnTo>
                    <a:pt x="522590" y="231410"/>
                  </a:lnTo>
                  <a:lnTo>
                    <a:pt x="548520" y="262141"/>
                  </a:lnTo>
                  <a:lnTo>
                    <a:pt x="583737" y="281852"/>
                  </a:lnTo>
                  <a:lnTo>
                    <a:pt x="627614" y="288807"/>
                  </a:lnTo>
                  <a:lnTo>
                    <a:pt x="670222" y="282799"/>
                  </a:lnTo>
                  <a:lnTo>
                    <a:pt x="706016" y="264965"/>
                  </a:lnTo>
                  <a:lnTo>
                    <a:pt x="714428" y="255740"/>
                  </a:lnTo>
                  <a:lnTo>
                    <a:pt x="629917" y="255740"/>
                  </a:lnTo>
                  <a:lnTo>
                    <a:pt x="594136" y="248205"/>
                  </a:lnTo>
                  <a:lnTo>
                    <a:pt x="566032" y="226320"/>
                  </a:lnTo>
                  <a:lnTo>
                    <a:pt x="547781" y="191394"/>
                  </a:lnTo>
                  <a:lnTo>
                    <a:pt x="547662" y="191167"/>
                  </a:lnTo>
                  <a:lnTo>
                    <a:pt x="541083" y="143828"/>
                  </a:lnTo>
                  <a:lnTo>
                    <a:pt x="547861" y="96019"/>
                  </a:lnTo>
                  <a:lnTo>
                    <a:pt x="566465" y="61334"/>
                  </a:lnTo>
                  <a:lnTo>
                    <a:pt x="594299" y="40206"/>
                  </a:lnTo>
                  <a:lnTo>
                    <a:pt x="628766" y="33067"/>
                  </a:lnTo>
                  <a:lnTo>
                    <a:pt x="713229" y="33067"/>
                  </a:lnTo>
                  <a:lnTo>
                    <a:pt x="705776" y="24564"/>
                  </a:lnTo>
                  <a:lnTo>
                    <a:pt x="671443" y="6279"/>
                  </a:lnTo>
                  <a:lnTo>
                    <a:pt x="630692" y="0"/>
                  </a:lnTo>
                  <a:close/>
                </a:path>
                <a:path w="1243330" h="288925">
                  <a:moveTo>
                    <a:pt x="748364" y="194978"/>
                  </a:moveTo>
                  <a:lnTo>
                    <a:pt x="710292" y="194978"/>
                  </a:lnTo>
                  <a:lnTo>
                    <a:pt x="700279" y="219557"/>
                  </a:lnTo>
                  <a:lnTo>
                    <a:pt x="683522" y="238768"/>
                  </a:lnTo>
                  <a:lnTo>
                    <a:pt x="660056" y="251275"/>
                  </a:lnTo>
                  <a:lnTo>
                    <a:pt x="629917" y="255740"/>
                  </a:lnTo>
                  <a:lnTo>
                    <a:pt x="714428" y="255740"/>
                  </a:lnTo>
                  <a:lnTo>
                    <a:pt x="732797" y="235595"/>
                  </a:lnTo>
                  <a:lnTo>
                    <a:pt x="748364" y="194978"/>
                  </a:lnTo>
                  <a:close/>
                </a:path>
                <a:path w="1243330" h="288925">
                  <a:moveTo>
                    <a:pt x="713229" y="33067"/>
                  </a:moveTo>
                  <a:lnTo>
                    <a:pt x="628766" y="33067"/>
                  </a:lnTo>
                  <a:lnTo>
                    <a:pt x="658788" y="37640"/>
                  </a:lnTo>
                  <a:lnTo>
                    <a:pt x="682318" y="50325"/>
                  </a:lnTo>
                  <a:lnTo>
                    <a:pt x="699069" y="69572"/>
                  </a:lnTo>
                  <a:lnTo>
                    <a:pt x="708753" y="93829"/>
                  </a:lnTo>
                  <a:lnTo>
                    <a:pt x="746825" y="93829"/>
                  </a:lnTo>
                  <a:lnTo>
                    <a:pt x="731601" y="54024"/>
                  </a:lnTo>
                  <a:lnTo>
                    <a:pt x="713229" y="33067"/>
                  </a:lnTo>
                  <a:close/>
                </a:path>
                <a:path w="1243330" h="288925">
                  <a:moveTo>
                    <a:pt x="975268" y="4994"/>
                  </a:moveTo>
                  <a:lnTo>
                    <a:pt x="786059" y="4994"/>
                  </a:lnTo>
                  <a:lnTo>
                    <a:pt x="786059" y="283802"/>
                  </a:lnTo>
                  <a:lnTo>
                    <a:pt x="975268" y="283802"/>
                  </a:lnTo>
                  <a:lnTo>
                    <a:pt x="975268" y="249971"/>
                  </a:lnTo>
                  <a:lnTo>
                    <a:pt x="825283" y="249971"/>
                  </a:lnTo>
                  <a:lnTo>
                    <a:pt x="825283" y="157283"/>
                  </a:lnTo>
                  <a:lnTo>
                    <a:pt x="966420" y="157283"/>
                  </a:lnTo>
                  <a:lnTo>
                    <a:pt x="966420" y="123441"/>
                  </a:lnTo>
                  <a:lnTo>
                    <a:pt x="825283" y="123441"/>
                  </a:lnTo>
                  <a:lnTo>
                    <a:pt x="825283" y="38836"/>
                  </a:lnTo>
                  <a:lnTo>
                    <a:pt x="975268" y="38836"/>
                  </a:lnTo>
                  <a:lnTo>
                    <a:pt x="975268" y="4994"/>
                  </a:lnTo>
                  <a:close/>
                </a:path>
                <a:path w="1243330" h="288925">
                  <a:moveTo>
                    <a:pt x="1057171" y="4994"/>
                  </a:moveTo>
                  <a:lnTo>
                    <a:pt x="1017948" y="4994"/>
                  </a:lnTo>
                  <a:lnTo>
                    <a:pt x="1017948" y="283802"/>
                  </a:lnTo>
                  <a:lnTo>
                    <a:pt x="1057171" y="283802"/>
                  </a:lnTo>
                  <a:lnTo>
                    <a:pt x="1057171" y="157283"/>
                  </a:lnTo>
                  <a:lnTo>
                    <a:pt x="1242925" y="157283"/>
                  </a:lnTo>
                  <a:lnTo>
                    <a:pt x="1242925" y="123441"/>
                  </a:lnTo>
                  <a:lnTo>
                    <a:pt x="1057171" y="123441"/>
                  </a:lnTo>
                  <a:lnTo>
                    <a:pt x="1057171" y="4994"/>
                  </a:lnTo>
                  <a:close/>
                </a:path>
                <a:path w="1243330" h="288925">
                  <a:moveTo>
                    <a:pt x="1242925" y="157283"/>
                  </a:moveTo>
                  <a:lnTo>
                    <a:pt x="1203701" y="157283"/>
                  </a:lnTo>
                  <a:lnTo>
                    <a:pt x="1203701" y="283802"/>
                  </a:lnTo>
                  <a:lnTo>
                    <a:pt x="1242925" y="283802"/>
                  </a:lnTo>
                  <a:lnTo>
                    <a:pt x="1242925" y="157283"/>
                  </a:lnTo>
                  <a:close/>
                </a:path>
                <a:path w="1243330" h="288925">
                  <a:moveTo>
                    <a:pt x="1242925" y="4994"/>
                  </a:moveTo>
                  <a:lnTo>
                    <a:pt x="1203701" y="4994"/>
                  </a:lnTo>
                  <a:lnTo>
                    <a:pt x="1203701" y="123441"/>
                  </a:lnTo>
                  <a:lnTo>
                    <a:pt x="1242925" y="123441"/>
                  </a:lnTo>
                  <a:lnTo>
                    <a:pt x="1242925" y="4994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9">
              <a:extLst>
                <a:ext uri="{FF2B5EF4-FFF2-40B4-BE49-F238E27FC236}">
                  <a16:creationId xmlns:a16="http://schemas.microsoft.com/office/drawing/2014/main" id="{CE2579DF-0B30-705B-C8FD-25AF551B5F6A}"/>
                </a:ext>
              </a:extLst>
            </p:cNvPr>
            <p:cNvSpPr/>
            <p:nvPr userDrawn="1"/>
          </p:nvSpPr>
          <p:spPr>
            <a:xfrm>
              <a:off x="143595" y="135785"/>
              <a:ext cx="288028" cy="288028"/>
            </a:xfrm>
            <a:custGeom>
              <a:avLst/>
              <a:gdLst/>
              <a:ahLst/>
              <a:cxnLst/>
              <a:rect l="l" t="t" r="r" b="b"/>
              <a:pathLst>
                <a:path w="474980" h="474980">
                  <a:moveTo>
                    <a:pt x="62826" y="237299"/>
                  </a:moveTo>
                  <a:lnTo>
                    <a:pt x="60350" y="225069"/>
                  </a:lnTo>
                  <a:lnTo>
                    <a:pt x="53619" y="215087"/>
                  </a:lnTo>
                  <a:lnTo>
                    <a:pt x="43637" y="208356"/>
                  </a:lnTo>
                  <a:lnTo>
                    <a:pt x="31407" y="205879"/>
                  </a:lnTo>
                  <a:lnTo>
                    <a:pt x="19177" y="208356"/>
                  </a:lnTo>
                  <a:lnTo>
                    <a:pt x="9194" y="215087"/>
                  </a:lnTo>
                  <a:lnTo>
                    <a:pt x="2463" y="225069"/>
                  </a:lnTo>
                  <a:lnTo>
                    <a:pt x="0" y="237299"/>
                  </a:lnTo>
                  <a:lnTo>
                    <a:pt x="2463" y="249516"/>
                  </a:lnTo>
                  <a:lnTo>
                    <a:pt x="9194" y="259499"/>
                  </a:lnTo>
                  <a:lnTo>
                    <a:pt x="19177" y="266230"/>
                  </a:lnTo>
                  <a:lnTo>
                    <a:pt x="31407" y="268693"/>
                  </a:lnTo>
                  <a:lnTo>
                    <a:pt x="43637" y="266230"/>
                  </a:lnTo>
                  <a:lnTo>
                    <a:pt x="53619" y="259499"/>
                  </a:lnTo>
                  <a:lnTo>
                    <a:pt x="60350" y="249516"/>
                  </a:lnTo>
                  <a:lnTo>
                    <a:pt x="62826" y="237299"/>
                  </a:lnTo>
                  <a:close/>
                </a:path>
                <a:path w="474980" h="474980">
                  <a:moveTo>
                    <a:pt x="90170" y="336346"/>
                  </a:moveTo>
                  <a:lnTo>
                    <a:pt x="86194" y="324523"/>
                  </a:lnTo>
                  <a:lnTo>
                    <a:pt x="77939" y="315175"/>
                  </a:lnTo>
                  <a:lnTo>
                    <a:pt x="67119" y="309892"/>
                  </a:lnTo>
                  <a:lnTo>
                    <a:pt x="55118" y="309054"/>
                  </a:lnTo>
                  <a:lnTo>
                    <a:pt x="43294" y="313029"/>
                  </a:lnTo>
                  <a:lnTo>
                    <a:pt x="33934" y="321284"/>
                  </a:lnTo>
                  <a:lnTo>
                    <a:pt x="28651" y="332105"/>
                  </a:lnTo>
                  <a:lnTo>
                    <a:pt x="27813" y="344106"/>
                  </a:lnTo>
                  <a:lnTo>
                    <a:pt x="31788" y="355930"/>
                  </a:lnTo>
                  <a:lnTo>
                    <a:pt x="40043" y="365290"/>
                  </a:lnTo>
                  <a:lnTo>
                    <a:pt x="50863" y="370560"/>
                  </a:lnTo>
                  <a:lnTo>
                    <a:pt x="62877" y="371398"/>
                  </a:lnTo>
                  <a:lnTo>
                    <a:pt x="74701" y="367423"/>
                  </a:lnTo>
                  <a:lnTo>
                    <a:pt x="84048" y="359181"/>
                  </a:lnTo>
                  <a:lnTo>
                    <a:pt x="89331" y="348361"/>
                  </a:lnTo>
                  <a:lnTo>
                    <a:pt x="90170" y="336346"/>
                  </a:lnTo>
                  <a:close/>
                </a:path>
                <a:path w="474980" h="474980">
                  <a:moveTo>
                    <a:pt x="90170" y="138239"/>
                  </a:moveTo>
                  <a:lnTo>
                    <a:pt x="89331" y="126225"/>
                  </a:lnTo>
                  <a:lnTo>
                    <a:pt x="84048" y="115404"/>
                  </a:lnTo>
                  <a:lnTo>
                    <a:pt x="74701" y="107149"/>
                  </a:lnTo>
                  <a:lnTo>
                    <a:pt x="62877" y="103174"/>
                  </a:lnTo>
                  <a:lnTo>
                    <a:pt x="50863" y="104013"/>
                  </a:lnTo>
                  <a:lnTo>
                    <a:pt x="40043" y="109296"/>
                  </a:lnTo>
                  <a:lnTo>
                    <a:pt x="31800" y="118656"/>
                  </a:lnTo>
                  <a:lnTo>
                    <a:pt x="27813" y="130479"/>
                  </a:lnTo>
                  <a:lnTo>
                    <a:pt x="28651" y="142481"/>
                  </a:lnTo>
                  <a:lnTo>
                    <a:pt x="33934" y="153301"/>
                  </a:lnTo>
                  <a:lnTo>
                    <a:pt x="43281" y="161556"/>
                  </a:lnTo>
                  <a:lnTo>
                    <a:pt x="55105" y="165519"/>
                  </a:lnTo>
                  <a:lnTo>
                    <a:pt x="67119" y="164693"/>
                  </a:lnTo>
                  <a:lnTo>
                    <a:pt x="77939" y="159410"/>
                  </a:lnTo>
                  <a:lnTo>
                    <a:pt x="86194" y="150050"/>
                  </a:lnTo>
                  <a:lnTo>
                    <a:pt x="90170" y="138239"/>
                  </a:lnTo>
                  <a:close/>
                </a:path>
                <a:path w="474980" h="474980">
                  <a:moveTo>
                    <a:pt x="141947" y="237286"/>
                  </a:moveTo>
                  <a:lnTo>
                    <a:pt x="140106" y="228117"/>
                  </a:lnTo>
                  <a:lnTo>
                    <a:pt x="135051" y="220637"/>
                  </a:lnTo>
                  <a:lnTo>
                    <a:pt x="127571" y="215582"/>
                  </a:lnTo>
                  <a:lnTo>
                    <a:pt x="118402" y="213741"/>
                  </a:lnTo>
                  <a:lnTo>
                    <a:pt x="109232" y="215582"/>
                  </a:lnTo>
                  <a:lnTo>
                    <a:pt x="101752" y="220637"/>
                  </a:lnTo>
                  <a:lnTo>
                    <a:pt x="96697" y="228117"/>
                  </a:lnTo>
                  <a:lnTo>
                    <a:pt x="94856" y="237286"/>
                  </a:lnTo>
                  <a:lnTo>
                    <a:pt x="96697" y="246456"/>
                  </a:lnTo>
                  <a:lnTo>
                    <a:pt x="101752" y="253949"/>
                  </a:lnTo>
                  <a:lnTo>
                    <a:pt x="109232" y="258991"/>
                  </a:lnTo>
                  <a:lnTo>
                    <a:pt x="118402" y="260845"/>
                  </a:lnTo>
                  <a:lnTo>
                    <a:pt x="127571" y="258991"/>
                  </a:lnTo>
                  <a:lnTo>
                    <a:pt x="135051" y="253949"/>
                  </a:lnTo>
                  <a:lnTo>
                    <a:pt x="140106" y="246456"/>
                  </a:lnTo>
                  <a:lnTo>
                    <a:pt x="141947" y="237286"/>
                  </a:lnTo>
                  <a:close/>
                </a:path>
                <a:path w="474980" h="474980">
                  <a:moveTo>
                    <a:pt x="165519" y="419468"/>
                  </a:moveTo>
                  <a:lnTo>
                    <a:pt x="164680" y="407454"/>
                  </a:lnTo>
                  <a:lnTo>
                    <a:pt x="159397" y="396633"/>
                  </a:lnTo>
                  <a:lnTo>
                    <a:pt x="150050" y="388378"/>
                  </a:lnTo>
                  <a:lnTo>
                    <a:pt x="138226" y="384403"/>
                  </a:lnTo>
                  <a:lnTo>
                    <a:pt x="126212" y="385241"/>
                  </a:lnTo>
                  <a:lnTo>
                    <a:pt x="115392" y="390525"/>
                  </a:lnTo>
                  <a:lnTo>
                    <a:pt x="107149" y="399884"/>
                  </a:lnTo>
                  <a:lnTo>
                    <a:pt x="103174" y="411708"/>
                  </a:lnTo>
                  <a:lnTo>
                    <a:pt x="104013" y="423710"/>
                  </a:lnTo>
                  <a:lnTo>
                    <a:pt x="109296" y="434530"/>
                  </a:lnTo>
                  <a:lnTo>
                    <a:pt x="118643" y="442785"/>
                  </a:lnTo>
                  <a:lnTo>
                    <a:pt x="130467" y="446760"/>
                  </a:lnTo>
                  <a:lnTo>
                    <a:pt x="142481" y="445922"/>
                  </a:lnTo>
                  <a:lnTo>
                    <a:pt x="153301" y="440639"/>
                  </a:lnTo>
                  <a:lnTo>
                    <a:pt x="161544" y="431292"/>
                  </a:lnTo>
                  <a:lnTo>
                    <a:pt x="165519" y="419468"/>
                  </a:lnTo>
                  <a:close/>
                </a:path>
                <a:path w="474980" h="474980">
                  <a:moveTo>
                    <a:pt x="165519" y="55118"/>
                  </a:moveTo>
                  <a:lnTo>
                    <a:pt x="161544" y="43294"/>
                  </a:lnTo>
                  <a:lnTo>
                    <a:pt x="153301" y="33947"/>
                  </a:lnTo>
                  <a:lnTo>
                    <a:pt x="142481" y="28663"/>
                  </a:lnTo>
                  <a:lnTo>
                    <a:pt x="130467" y="27825"/>
                  </a:lnTo>
                  <a:lnTo>
                    <a:pt x="118643" y="31800"/>
                  </a:lnTo>
                  <a:lnTo>
                    <a:pt x="109296" y="40043"/>
                  </a:lnTo>
                  <a:lnTo>
                    <a:pt x="104013" y="50876"/>
                  </a:lnTo>
                  <a:lnTo>
                    <a:pt x="103174" y="62890"/>
                  </a:lnTo>
                  <a:lnTo>
                    <a:pt x="107149" y="74714"/>
                  </a:lnTo>
                  <a:lnTo>
                    <a:pt x="115404" y="84061"/>
                  </a:lnTo>
                  <a:lnTo>
                    <a:pt x="126212" y="89331"/>
                  </a:lnTo>
                  <a:lnTo>
                    <a:pt x="138226" y="90170"/>
                  </a:lnTo>
                  <a:lnTo>
                    <a:pt x="150050" y="86194"/>
                  </a:lnTo>
                  <a:lnTo>
                    <a:pt x="159410" y="77952"/>
                  </a:lnTo>
                  <a:lnTo>
                    <a:pt x="164680" y="67132"/>
                  </a:lnTo>
                  <a:lnTo>
                    <a:pt x="165519" y="55118"/>
                  </a:lnTo>
                  <a:close/>
                </a:path>
                <a:path w="474980" h="474980">
                  <a:moveTo>
                    <a:pt x="176771" y="321348"/>
                  </a:moveTo>
                  <a:lnTo>
                    <a:pt x="175056" y="312483"/>
                  </a:lnTo>
                  <a:lnTo>
                    <a:pt x="169875" y="304698"/>
                  </a:lnTo>
                  <a:lnTo>
                    <a:pt x="162077" y="299529"/>
                  </a:lnTo>
                  <a:lnTo>
                    <a:pt x="153225" y="297802"/>
                  </a:lnTo>
                  <a:lnTo>
                    <a:pt x="144360" y="299529"/>
                  </a:lnTo>
                  <a:lnTo>
                    <a:pt x="136563" y="304698"/>
                  </a:lnTo>
                  <a:lnTo>
                    <a:pt x="131394" y="312483"/>
                  </a:lnTo>
                  <a:lnTo>
                    <a:pt x="129667" y="321348"/>
                  </a:lnTo>
                  <a:lnTo>
                    <a:pt x="131394" y="330212"/>
                  </a:lnTo>
                  <a:lnTo>
                    <a:pt x="136563" y="338010"/>
                  </a:lnTo>
                  <a:lnTo>
                    <a:pt x="144360" y="343179"/>
                  </a:lnTo>
                  <a:lnTo>
                    <a:pt x="153225" y="344906"/>
                  </a:lnTo>
                  <a:lnTo>
                    <a:pt x="162077" y="343179"/>
                  </a:lnTo>
                  <a:lnTo>
                    <a:pt x="169875" y="338010"/>
                  </a:lnTo>
                  <a:lnTo>
                    <a:pt x="175056" y="330212"/>
                  </a:lnTo>
                  <a:lnTo>
                    <a:pt x="176771" y="321348"/>
                  </a:lnTo>
                  <a:close/>
                </a:path>
                <a:path w="474980" h="474980">
                  <a:moveTo>
                    <a:pt x="176784" y="153225"/>
                  </a:moveTo>
                  <a:lnTo>
                    <a:pt x="175056" y="144360"/>
                  </a:lnTo>
                  <a:lnTo>
                    <a:pt x="169875" y="136575"/>
                  </a:lnTo>
                  <a:lnTo>
                    <a:pt x="162090" y="131394"/>
                  </a:lnTo>
                  <a:lnTo>
                    <a:pt x="153225" y="129679"/>
                  </a:lnTo>
                  <a:lnTo>
                    <a:pt x="144360" y="131394"/>
                  </a:lnTo>
                  <a:lnTo>
                    <a:pt x="136575" y="136575"/>
                  </a:lnTo>
                  <a:lnTo>
                    <a:pt x="131394" y="144360"/>
                  </a:lnTo>
                  <a:lnTo>
                    <a:pt x="129667" y="153225"/>
                  </a:lnTo>
                  <a:lnTo>
                    <a:pt x="131394" y="162090"/>
                  </a:lnTo>
                  <a:lnTo>
                    <a:pt x="136575" y="169875"/>
                  </a:lnTo>
                  <a:lnTo>
                    <a:pt x="144360" y="175056"/>
                  </a:lnTo>
                  <a:lnTo>
                    <a:pt x="153225" y="176784"/>
                  </a:lnTo>
                  <a:lnTo>
                    <a:pt x="162090" y="175056"/>
                  </a:lnTo>
                  <a:lnTo>
                    <a:pt x="169875" y="169875"/>
                  </a:lnTo>
                  <a:lnTo>
                    <a:pt x="175056" y="162090"/>
                  </a:lnTo>
                  <a:lnTo>
                    <a:pt x="176784" y="153225"/>
                  </a:lnTo>
                  <a:close/>
                </a:path>
                <a:path w="474980" h="474980">
                  <a:moveTo>
                    <a:pt x="209016" y="261874"/>
                  </a:moveTo>
                  <a:lnTo>
                    <a:pt x="201853" y="249478"/>
                  </a:lnTo>
                  <a:lnTo>
                    <a:pt x="193941" y="247357"/>
                  </a:lnTo>
                  <a:lnTo>
                    <a:pt x="187744" y="250939"/>
                  </a:lnTo>
                  <a:lnTo>
                    <a:pt x="181546" y="254520"/>
                  </a:lnTo>
                  <a:lnTo>
                    <a:pt x="179412" y="262432"/>
                  </a:lnTo>
                  <a:lnTo>
                    <a:pt x="186575" y="274828"/>
                  </a:lnTo>
                  <a:lnTo>
                    <a:pt x="194500" y="276961"/>
                  </a:lnTo>
                  <a:lnTo>
                    <a:pt x="206895" y="269798"/>
                  </a:lnTo>
                  <a:lnTo>
                    <a:pt x="209016" y="261874"/>
                  </a:lnTo>
                  <a:close/>
                </a:path>
                <a:path w="474980" h="474980">
                  <a:moveTo>
                    <a:pt x="209016" y="212699"/>
                  </a:moveTo>
                  <a:lnTo>
                    <a:pt x="206895" y="204787"/>
                  </a:lnTo>
                  <a:lnTo>
                    <a:pt x="200698" y="201206"/>
                  </a:lnTo>
                  <a:lnTo>
                    <a:pt x="194500" y="197624"/>
                  </a:lnTo>
                  <a:lnTo>
                    <a:pt x="186575" y="199745"/>
                  </a:lnTo>
                  <a:lnTo>
                    <a:pt x="179425" y="212153"/>
                  </a:lnTo>
                  <a:lnTo>
                    <a:pt x="181546" y="220078"/>
                  </a:lnTo>
                  <a:lnTo>
                    <a:pt x="193941" y="227228"/>
                  </a:lnTo>
                  <a:lnTo>
                    <a:pt x="201853" y="225107"/>
                  </a:lnTo>
                  <a:lnTo>
                    <a:pt x="209016" y="212699"/>
                  </a:lnTo>
                  <a:close/>
                </a:path>
                <a:path w="474980" h="474980">
                  <a:moveTo>
                    <a:pt x="250240" y="279869"/>
                  </a:moveTo>
                  <a:lnTo>
                    <a:pt x="244449" y="274066"/>
                  </a:lnTo>
                  <a:lnTo>
                    <a:pt x="230136" y="274066"/>
                  </a:lnTo>
                  <a:lnTo>
                    <a:pt x="224332" y="279869"/>
                  </a:lnTo>
                  <a:lnTo>
                    <a:pt x="224332" y="287020"/>
                  </a:lnTo>
                  <a:lnTo>
                    <a:pt x="224332" y="294170"/>
                  </a:lnTo>
                  <a:lnTo>
                    <a:pt x="230136" y="299974"/>
                  </a:lnTo>
                  <a:lnTo>
                    <a:pt x="244449" y="299974"/>
                  </a:lnTo>
                  <a:lnTo>
                    <a:pt x="250240" y="294170"/>
                  </a:lnTo>
                  <a:lnTo>
                    <a:pt x="250240" y="279869"/>
                  </a:lnTo>
                  <a:close/>
                </a:path>
                <a:path w="474980" h="474980">
                  <a:moveTo>
                    <a:pt x="250240" y="180416"/>
                  </a:moveTo>
                  <a:lnTo>
                    <a:pt x="244436" y="174612"/>
                  </a:lnTo>
                  <a:lnTo>
                    <a:pt x="230124" y="174612"/>
                  </a:lnTo>
                  <a:lnTo>
                    <a:pt x="224332" y="180416"/>
                  </a:lnTo>
                  <a:lnTo>
                    <a:pt x="224332" y="194716"/>
                  </a:lnTo>
                  <a:lnTo>
                    <a:pt x="230124" y="200520"/>
                  </a:lnTo>
                  <a:lnTo>
                    <a:pt x="244436" y="200520"/>
                  </a:lnTo>
                  <a:lnTo>
                    <a:pt x="250240" y="194716"/>
                  </a:lnTo>
                  <a:lnTo>
                    <a:pt x="250240" y="187566"/>
                  </a:lnTo>
                  <a:lnTo>
                    <a:pt x="250240" y="180416"/>
                  </a:lnTo>
                  <a:close/>
                </a:path>
                <a:path w="474980" h="474980">
                  <a:moveTo>
                    <a:pt x="260832" y="356171"/>
                  </a:moveTo>
                  <a:lnTo>
                    <a:pt x="258991" y="347002"/>
                  </a:lnTo>
                  <a:lnTo>
                    <a:pt x="253936" y="339521"/>
                  </a:lnTo>
                  <a:lnTo>
                    <a:pt x="246456" y="334479"/>
                  </a:lnTo>
                  <a:lnTo>
                    <a:pt x="237274" y="332625"/>
                  </a:lnTo>
                  <a:lnTo>
                    <a:pt x="228117" y="334479"/>
                  </a:lnTo>
                  <a:lnTo>
                    <a:pt x="220624" y="339521"/>
                  </a:lnTo>
                  <a:lnTo>
                    <a:pt x="215582" y="347002"/>
                  </a:lnTo>
                  <a:lnTo>
                    <a:pt x="213728" y="356171"/>
                  </a:lnTo>
                  <a:lnTo>
                    <a:pt x="215582" y="365340"/>
                  </a:lnTo>
                  <a:lnTo>
                    <a:pt x="220624" y="372833"/>
                  </a:lnTo>
                  <a:lnTo>
                    <a:pt x="228117" y="377875"/>
                  </a:lnTo>
                  <a:lnTo>
                    <a:pt x="237274" y="379717"/>
                  </a:lnTo>
                  <a:lnTo>
                    <a:pt x="246456" y="377875"/>
                  </a:lnTo>
                  <a:lnTo>
                    <a:pt x="253936" y="372833"/>
                  </a:lnTo>
                  <a:lnTo>
                    <a:pt x="258991" y="365340"/>
                  </a:lnTo>
                  <a:lnTo>
                    <a:pt x="260832" y="356171"/>
                  </a:lnTo>
                  <a:close/>
                </a:path>
                <a:path w="474980" h="474980">
                  <a:moveTo>
                    <a:pt x="260845" y="118402"/>
                  </a:moveTo>
                  <a:lnTo>
                    <a:pt x="258991" y="109245"/>
                  </a:lnTo>
                  <a:lnTo>
                    <a:pt x="253936" y="101752"/>
                  </a:lnTo>
                  <a:lnTo>
                    <a:pt x="246456" y="96710"/>
                  </a:lnTo>
                  <a:lnTo>
                    <a:pt x="237286" y="94856"/>
                  </a:lnTo>
                  <a:lnTo>
                    <a:pt x="228117" y="96710"/>
                  </a:lnTo>
                  <a:lnTo>
                    <a:pt x="220637" y="101752"/>
                  </a:lnTo>
                  <a:lnTo>
                    <a:pt x="215582" y="109245"/>
                  </a:lnTo>
                  <a:lnTo>
                    <a:pt x="213728" y="118402"/>
                  </a:lnTo>
                  <a:lnTo>
                    <a:pt x="215582" y="127584"/>
                  </a:lnTo>
                  <a:lnTo>
                    <a:pt x="220637" y="135064"/>
                  </a:lnTo>
                  <a:lnTo>
                    <a:pt x="228117" y="140119"/>
                  </a:lnTo>
                  <a:lnTo>
                    <a:pt x="237286" y="141960"/>
                  </a:lnTo>
                  <a:lnTo>
                    <a:pt x="246456" y="140119"/>
                  </a:lnTo>
                  <a:lnTo>
                    <a:pt x="253936" y="135064"/>
                  </a:lnTo>
                  <a:lnTo>
                    <a:pt x="258991" y="127584"/>
                  </a:lnTo>
                  <a:lnTo>
                    <a:pt x="260845" y="118402"/>
                  </a:lnTo>
                  <a:close/>
                </a:path>
                <a:path w="474980" h="474980">
                  <a:moveTo>
                    <a:pt x="268693" y="443166"/>
                  </a:moveTo>
                  <a:lnTo>
                    <a:pt x="266230" y="430936"/>
                  </a:lnTo>
                  <a:lnTo>
                    <a:pt x="259499" y="420954"/>
                  </a:lnTo>
                  <a:lnTo>
                    <a:pt x="249516" y="414223"/>
                  </a:lnTo>
                  <a:lnTo>
                    <a:pt x="237286" y="411746"/>
                  </a:lnTo>
                  <a:lnTo>
                    <a:pt x="225069" y="414223"/>
                  </a:lnTo>
                  <a:lnTo>
                    <a:pt x="215074" y="420954"/>
                  </a:lnTo>
                  <a:lnTo>
                    <a:pt x="208343" y="430936"/>
                  </a:lnTo>
                  <a:lnTo>
                    <a:pt x="205879" y="443166"/>
                  </a:lnTo>
                  <a:lnTo>
                    <a:pt x="208343" y="455396"/>
                  </a:lnTo>
                  <a:lnTo>
                    <a:pt x="215074" y="465378"/>
                  </a:lnTo>
                  <a:lnTo>
                    <a:pt x="225069" y="472109"/>
                  </a:lnTo>
                  <a:lnTo>
                    <a:pt x="237286" y="474573"/>
                  </a:lnTo>
                  <a:lnTo>
                    <a:pt x="249516" y="472109"/>
                  </a:lnTo>
                  <a:lnTo>
                    <a:pt x="259499" y="465378"/>
                  </a:lnTo>
                  <a:lnTo>
                    <a:pt x="266230" y="455396"/>
                  </a:lnTo>
                  <a:lnTo>
                    <a:pt x="268693" y="443166"/>
                  </a:lnTo>
                  <a:close/>
                </a:path>
                <a:path w="474980" h="474980">
                  <a:moveTo>
                    <a:pt x="268693" y="31419"/>
                  </a:moveTo>
                  <a:lnTo>
                    <a:pt x="266230" y="19189"/>
                  </a:lnTo>
                  <a:lnTo>
                    <a:pt x="259486" y="9207"/>
                  </a:lnTo>
                  <a:lnTo>
                    <a:pt x="249504" y="2476"/>
                  </a:lnTo>
                  <a:lnTo>
                    <a:pt x="237274" y="0"/>
                  </a:lnTo>
                  <a:lnTo>
                    <a:pt x="225056" y="2476"/>
                  </a:lnTo>
                  <a:lnTo>
                    <a:pt x="215074" y="9207"/>
                  </a:lnTo>
                  <a:lnTo>
                    <a:pt x="208343" y="19189"/>
                  </a:lnTo>
                  <a:lnTo>
                    <a:pt x="205879" y="31419"/>
                  </a:lnTo>
                  <a:lnTo>
                    <a:pt x="208343" y="43649"/>
                  </a:lnTo>
                  <a:lnTo>
                    <a:pt x="215074" y="53632"/>
                  </a:lnTo>
                  <a:lnTo>
                    <a:pt x="225056" y="60363"/>
                  </a:lnTo>
                  <a:lnTo>
                    <a:pt x="237274" y="62826"/>
                  </a:lnTo>
                  <a:lnTo>
                    <a:pt x="249504" y="60363"/>
                  </a:lnTo>
                  <a:lnTo>
                    <a:pt x="259486" y="53632"/>
                  </a:lnTo>
                  <a:lnTo>
                    <a:pt x="266230" y="43649"/>
                  </a:lnTo>
                  <a:lnTo>
                    <a:pt x="268693" y="31419"/>
                  </a:lnTo>
                  <a:close/>
                </a:path>
                <a:path w="474980" h="474980">
                  <a:moveTo>
                    <a:pt x="295148" y="262432"/>
                  </a:moveTo>
                  <a:lnTo>
                    <a:pt x="293027" y="254508"/>
                  </a:lnTo>
                  <a:lnTo>
                    <a:pt x="280631" y="247357"/>
                  </a:lnTo>
                  <a:lnTo>
                    <a:pt x="272707" y="249478"/>
                  </a:lnTo>
                  <a:lnTo>
                    <a:pt x="265544" y="261874"/>
                  </a:lnTo>
                  <a:lnTo>
                    <a:pt x="267677" y="269798"/>
                  </a:lnTo>
                  <a:lnTo>
                    <a:pt x="273875" y="273380"/>
                  </a:lnTo>
                  <a:lnTo>
                    <a:pt x="280073" y="276961"/>
                  </a:lnTo>
                  <a:lnTo>
                    <a:pt x="287985" y="274828"/>
                  </a:lnTo>
                  <a:lnTo>
                    <a:pt x="295148" y="262432"/>
                  </a:lnTo>
                  <a:close/>
                </a:path>
                <a:path w="474980" h="474980">
                  <a:moveTo>
                    <a:pt x="295148" y="212153"/>
                  </a:moveTo>
                  <a:lnTo>
                    <a:pt x="287985" y="199758"/>
                  </a:lnTo>
                  <a:lnTo>
                    <a:pt x="280073" y="197624"/>
                  </a:lnTo>
                  <a:lnTo>
                    <a:pt x="267677" y="204774"/>
                  </a:lnTo>
                  <a:lnTo>
                    <a:pt x="265557" y="212699"/>
                  </a:lnTo>
                  <a:lnTo>
                    <a:pt x="272707" y="225107"/>
                  </a:lnTo>
                  <a:lnTo>
                    <a:pt x="280631" y="227228"/>
                  </a:lnTo>
                  <a:lnTo>
                    <a:pt x="286829" y="223647"/>
                  </a:lnTo>
                  <a:lnTo>
                    <a:pt x="293027" y="220065"/>
                  </a:lnTo>
                  <a:lnTo>
                    <a:pt x="295148" y="212153"/>
                  </a:lnTo>
                  <a:close/>
                </a:path>
                <a:path w="474980" h="474980">
                  <a:moveTo>
                    <a:pt x="344893" y="153225"/>
                  </a:moveTo>
                  <a:lnTo>
                    <a:pt x="343179" y="144360"/>
                  </a:lnTo>
                  <a:lnTo>
                    <a:pt x="338010" y="136575"/>
                  </a:lnTo>
                  <a:lnTo>
                    <a:pt x="330212" y="131394"/>
                  </a:lnTo>
                  <a:lnTo>
                    <a:pt x="321348" y="129667"/>
                  </a:lnTo>
                  <a:lnTo>
                    <a:pt x="312483" y="131394"/>
                  </a:lnTo>
                  <a:lnTo>
                    <a:pt x="304698" y="136575"/>
                  </a:lnTo>
                  <a:lnTo>
                    <a:pt x="299516" y="144360"/>
                  </a:lnTo>
                  <a:lnTo>
                    <a:pt x="297789" y="153225"/>
                  </a:lnTo>
                  <a:lnTo>
                    <a:pt x="299516" y="162090"/>
                  </a:lnTo>
                  <a:lnTo>
                    <a:pt x="304698" y="169887"/>
                  </a:lnTo>
                  <a:lnTo>
                    <a:pt x="312483" y="175056"/>
                  </a:lnTo>
                  <a:lnTo>
                    <a:pt x="321348" y="176784"/>
                  </a:lnTo>
                  <a:lnTo>
                    <a:pt x="330212" y="175056"/>
                  </a:lnTo>
                  <a:lnTo>
                    <a:pt x="338010" y="169887"/>
                  </a:lnTo>
                  <a:lnTo>
                    <a:pt x="343179" y="162090"/>
                  </a:lnTo>
                  <a:lnTo>
                    <a:pt x="344893" y="153225"/>
                  </a:lnTo>
                  <a:close/>
                </a:path>
                <a:path w="474980" h="474980">
                  <a:moveTo>
                    <a:pt x="344906" y="321348"/>
                  </a:moveTo>
                  <a:lnTo>
                    <a:pt x="343179" y="312496"/>
                  </a:lnTo>
                  <a:lnTo>
                    <a:pt x="337997" y="304698"/>
                  </a:lnTo>
                  <a:lnTo>
                    <a:pt x="330212" y="299529"/>
                  </a:lnTo>
                  <a:lnTo>
                    <a:pt x="321348" y="297802"/>
                  </a:lnTo>
                  <a:lnTo>
                    <a:pt x="312483" y="299529"/>
                  </a:lnTo>
                  <a:lnTo>
                    <a:pt x="304698" y="304698"/>
                  </a:lnTo>
                  <a:lnTo>
                    <a:pt x="299516" y="312496"/>
                  </a:lnTo>
                  <a:lnTo>
                    <a:pt x="297802" y="321348"/>
                  </a:lnTo>
                  <a:lnTo>
                    <a:pt x="299516" y="330212"/>
                  </a:lnTo>
                  <a:lnTo>
                    <a:pt x="304698" y="338010"/>
                  </a:lnTo>
                  <a:lnTo>
                    <a:pt x="312483" y="343179"/>
                  </a:lnTo>
                  <a:lnTo>
                    <a:pt x="321348" y="344906"/>
                  </a:lnTo>
                  <a:lnTo>
                    <a:pt x="330212" y="343179"/>
                  </a:lnTo>
                  <a:lnTo>
                    <a:pt x="337997" y="338010"/>
                  </a:lnTo>
                  <a:lnTo>
                    <a:pt x="343179" y="330212"/>
                  </a:lnTo>
                  <a:lnTo>
                    <a:pt x="344906" y="321348"/>
                  </a:lnTo>
                  <a:close/>
                </a:path>
                <a:path w="474980" h="474980">
                  <a:moveTo>
                    <a:pt x="371398" y="411695"/>
                  </a:moveTo>
                  <a:lnTo>
                    <a:pt x="367423" y="399872"/>
                  </a:lnTo>
                  <a:lnTo>
                    <a:pt x="359168" y="390525"/>
                  </a:lnTo>
                  <a:lnTo>
                    <a:pt x="348348" y="385241"/>
                  </a:lnTo>
                  <a:lnTo>
                    <a:pt x="336346" y="384403"/>
                  </a:lnTo>
                  <a:lnTo>
                    <a:pt x="324523" y="388391"/>
                  </a:lnTo>
                  <a:lnTo>
                    <a:pt x="315163" y="396633"/>
                  </a:lnTo>
                  <a:lnTo>
                    <a:pt x="309880" y="407454"/>
                  </a:lnTo>
                  <a:lnTo>
                    <a:pt x="309054" y="419468"/>
                  </a:lnTo>
                  <a:lnTo>
                    <a:pt x="313016" y="431292"/>
                  </a:lnTo>
                  <a:lnTo>
                    <a:pt x="321271" y="440639"/>
                  </a:lnTo>
                  <a:lnTo>
                    <a:pt x="332092" y="445922"/>
                  </a:lnTo>
                  <a:lnTo>
                    <a:pt x="344106" y="446760"/>
                  </a:lnTo>
                  <a:lnTo>
                    <a:pt x="355917" y="442785"/>
                  </a:lnTo>
                  <a:lnTo>
                    <a:pt x="365277" y="434530"/>
                  </a:lnTo>
                  <a:lnTo>
                    <a:pt x="370560" y="423710"/>
                  </a:lnTo>
                  <a:lnTo>
                    <a:pt x="371398" y="411695"/>
                  </a:lnTo>
                  <a:close/>
                </a:path>
                <a:path w="474980" h="474980">
                  <a:moveTo>
                    <a:pt x="371398" y="62877"/>
                  </a:moveTo>
                  <a:lnTo>
                    <a:pt x="370560" y="50863"/>
                  </a:lnTo>
                  <a:lnTo>
                    <a:pt x="365277" y="40055"/>
                  </a:lnTo>
                  <a:lnTo>
                    <a:pt x="355930" y="31800"/>
                  </a:lnTo>
                  <a:lnTo>
                    <a:pt x="344106" y="27825"/>
                  </a:lnTo>
                  <a:lnTo>
                    <a:pt x="332092" y="28663"/>
                  </a:lnTo>
                  <a:lnTo>
                    <a:pt x="321271" y="33934"/>
                  </a:lnTo>
                  <a:lnTo>
                    <a:pt x="313029" y="43294"/>
                  </a:lnTo>
                  <a:lnTo>
                    <a:pt x="309054" y="55118"/>
                  </a:lnTo>
                  <a:lnTo>
                    <a:pt x="309892" y="67132"/>
                  </a:lnTo>
                  <a:lnTo>
                    <a:pt x="315163" y="77952"/>
                  </a:lnTo>
                  <a:lnTo>
                    <a:pt x="324523" y="86194"/>
                  </a:lnTo>
                  <a:lnTo>
                    <a:pt x="336346" y="90170"/>
                  </a:lnTo>
                  <a:lnTo>
                    <a:pt x="348348" y="89331"/>
                  </a:lnTo>
                  <a:lnTo>
                    <a:pt x="359168" y="84061"/>
                  </a:lnTo>
                  <a:lnTo>
                    <a:pt x="367423" y="74701"/>
                  </a:lnTo>
                  <a:lnTo>
                    <a:pt x="371398" y="62877"/>
                  </a:lnTo>
                  <a:close/>
                </a:path>
                <a:path w="474980" h="474980">
                  <a:moveTo>
                    <a:pt x="379717" y="237286"/>
                  </a:moveTo>
                  <a:lnTo>
                    <a:pt x="377863" y="228117"/>
                  </a:lnTo>
                  <a:lnTo>
                    <a:pt x="372821" y="220637"/>
                  </a:lnTo>
                  <a:lnTo>
                    <a:pt x="365340" y="215582"/>
                  </a:lnTo>
                  <a:lnTo>
                    <a:pt x="356171" y="213741"/>
                  </a:lnTo>
                  <a:lnTo>
                    <a:pt x="347002" y="215582"/>
                  </a:lnTo>
                  <a:lnTo>
                    <a:pt x="339509" y="220637"/>
                  </a:lnTo>
                  <a:lnTo>
                    <a:pt x="334467" y="228117"/>
                  </a:lnTo>
                  <a:lnTo>
                    <a:pt x="332625" y="237286"/>
                  </a:lnTo>
                  <a:lnTo>
                    <a:pt x="334467" y="246456"/>
                  </a:lnTo>
                  <a:lnTo>
                    <a:pt x="339509" y="253949"/>
                  </a:lnTo>
                  <a:lnTo>
                    <a:pt x="347002" y="258991"/>
                  </a:lnTo>
                  <a:lnTo>
                    <a:pt x="356171" y="260845"/>
                  </a:lnTo>
                  <a:lnTo>
                    <a:pt x="365340" y="258991"/>
                  </a:lnTo>
                  <a:lnTo>
                    <a:pt x="372821" y="253949"/>
                  </a:lnTo>
                  <a:lnTo>
                    <a:pt x="377863" y="246456"/>
                  </a:lnTo>
                  <a:lnTo>
                    <a:pt x="379717" y="237286"/>
                  </a:lnTo>
                  <a:close/>
                </a:path>
                <a:path w="474980" h="474980">
                  <a:moveTo>
                    <a:pt x="446747" y="344106"/>
                  </a:moveTo>
                  <a:lnTo>
                    <a:pt x="445909" y="332092"/>
                  </a:lnTo>
                  <a:lnTo>
                    <a:pt x="440639" y="321284"/>
                  </a:lnTo>
                  <a:lnTo>
                    <a:pt x="431292" y="313029"/>
                  </a:lnTo>
                  <a:lnTo>
                    <a:pt x="419468" y="309054"/>
                  </a:lnTo>
                  <a:lnTo>
                    <a:pt x="407454" y="309892"/>
                  </a:lnTo>
                  <a:lnTo>
                    <a:pt x="396621" y="315175"/>
                  </a:lnTo>
                  <a:lnTo>
                    <a:pt x="388378" y="324523"/>
                  </a:lnTo>
                  <a:lnTo>
                    <a:pt x="384403" y="336346"/>
                  </a:lnTo>
                  <a:lnTo>
                    <a:pt x="385241" y="348361"/>
                  </a:lnTo>
                  <a:lnTo>
                    <a:pt x="390525" y="359181"/>
                  </a:lnTo>
                  <a:lnTo>
                    <a:pt x="399872" y="367423"/>
                  </a:lnTo>
                  <a:lnTo>
                    <a:pt x="411695" y="371398"/>
                  </a:lnTo>
                  <a:lnTo>
                    <a:pt x="423710" y="370560"/>
                  </a:lnTo>
                  <a:lnTo>
                    <a:pt x="434530" y="365290"/>
                  </a:lnTo>
                  <a:lnTo>
                    <a:pt x="442772" y="355930"/>
                  </a:lnTo>
                  <a:lnTo>
                    <a:pt x="446747" y="344106"/>
                  </a:lnTo>
                  <a:close/>
                </a:path>
                <a:path w="474980" h="474980">
                  <a:moveTo>
                    <a:pt x="446747" y="130467"/>
                  </a:moveTo>
                  <a:lnTo>
                    <a:pt x="442772" y="118656"/>
                  </a:lnTo>
                  <a:lnTo>
                    <a:pt x="434530" y="109296"/>
                  </a:lnTo>
                  <a:lnTo>
                    <a:pt x="423710" y="104025"/>
                  </a:lnTo>
                  <a:lnTo>
                    <a:pt x="411695" y="103187"/>
                  </a:lnTo>
                  <a:lnTo>
                    <a:pt x="399872" y="107162"/>
                  </a:lnTo>
                  <a:lnTo>
                    <a:pt x="390525" y="115404"/>
                  </a:lnTo>
                  <a:lnTo>
                    <a:pt x="385241" y="126225"/>
                  </a:lnTo>
                  <a:lnTo>
                    <a:pt x="384403" y="138239"/>
                  </a:lnTo>
                  <a:lnTo>
                    <a:pt x="388378" y="150050"/>
                  </a:lnTo>
                  <a:lnTo>
                    <a:pt x="396633" y="159410"/>
                  </a:lnTo>
                  <a:lnTo>
                    <a:pt x="407454" y="164693"/>
                  </a:lnTo>
                  <a:lnTo>
                    <a:pt x="419455" y="165531"/>
                  </a:lnTo>
                  <a:lnTo>
                    <a:pt x="431279" y="161556"/>
                  </a:lnTo>
                  <a:lnTo>
                    <a:pt x="440639" y="153301"/>
                  </a:lnTo>
                  <a:lnTo>
                    <a:pt x="445909" y="142481"/>
                  </a:lnTo>
                  <a:lnTo>
                    <a:pt x="446747" y="130467"/>
                  </a:lnTo>
                  <a:close/>
                </a:path>
                <a:path w="474980" h="474980">
                  <a:moveTo>
                    <a:pt x="474573" y="237286"/>
                  </a:moveTo>
                  <a:lnTo>
                    <a:pt x="472109" y="225069"/>
                  </a:lnTo>
                  <a:lnTo>
                    <a:pt x="465366" y="215087"/>
                  </a:lnTo>
                  <a:lnTo>
                    <a:pt x="455383" y="208356"/>
                  </a:lnTo>
                  <a:lnTo>
                    <a:pt x="443153" y="205879"/>
                  </a:lnTo>
                  <a:lnTo>
                    <a:pt x="430936" y="208356"/>
                  </a:lnTo>
                  <a:lnTo>
                    <a:pt x="420941" y="215087"/>
                  </a:lnTo>
                  <a:lnTo>
                    <a:pt x="414210" y="225069"/>
                  </a:lnTo>
                  <a:lnTo>
                    <a:pt x="411746" y="237286"/>
                  </a:lnTo>
                  <a:lnTo>
                    <a:pt x="414210" y="249516"/>
                  </a:lnTo>
                  <a:lnTo>
                    <a:pt x="420941" y="259499"/>
                  </a:lnTo>
                  <a:lnTo>
                    <a:pt x="430936" y="266230"/>
                  </a:lnTo>
                  <a:lnTo>
                    <a:pt x="443153" y="268693"/>
                  </a:lnTo>
                  <a:lnTo>
                    <a:pt x="455383" y="266230"/>
                  </a:lnTo>
                  <a:lnTo>
                    <a:pt x="465366" y="259499"/>
                  </a:lnTo>
                  <a:lnTo>
                    <a:pt x="472109" y="249516"/>
                  </a:lnTo>
                  <a:lnTo>
                    <a:pt x="474573" y="237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82A69B8-8BA3-E9DC-7A9D-FA14853D36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14532EF3-B6F0-B76B-9CFE-47CDEDAE2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99" y="2513736"/>
            <a:ext cx="5310188" cy="1636991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3 </a:t>
            </a:r>
            <a:br>
              <a:rPr lang="en-GB" dirty="0"/>
            </a:br>
            <a:r>
              <a:rPr lang="en-GB" dirty="0"/>
              <a:t>that can break over three lines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ACB6CFB-017C-07CB-C76D-D9162BE65281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  <a:solidFill>
            <a:schemeClr val="bg1"/>
          </a:solidFill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6AA5BB6-48E5-8E32-B4AA-B288D7B7E4A2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4D478FC-C1D6-0DE6-37C6-AA33FAD9B03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8137BB38-0D85-AF41-480D-149A509D2BC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3AD72DA-E868-B4DE-E8F7-70DDC92BB2E7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BD0C1D91-FFA1-5FDB-CEB8-B0B02CFC7AA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D82E447C-7A71-9209-D595-EE57E23B3EB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7" name="object 3">
            <a:extLst>
              <a:ext uri="{FF2B5EF4-FFF2-40B4-BE49-F238E27FC236}">
                <a16:creationId xmlns:a16="http://schemas.microsoft.com/office/drawing/2014/main" id="{C5EF4511-BC4F-0983-B1FD-B1C40AF754A9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58531630-32B9-1621-E0BF-AB57475FA4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2057891"/>
            <a:ext cx="5310188" cy="310352"/>
          </a:xfrm>
        </p:spPr>
        <p:txBody>
          <a:bodyPr/>
          <a:lstStyle>
            <a:lvl1pPr>
              <a:defRPr sz="1800" b="1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9A87186C-6BB8-7F54-1DBF-FCB960A850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97917536-AC2E-04E3-8773-CE9AA4733A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623" y="4438553"/>
            <a:ext cx="4248150" cy="86302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400" spc="-8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800" spc="-40" baseline="0"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Presentation subtitle goes here over two lines if required. 24pt. </a:t>
            </a:r>
          </a:p>
        </p:txBody>
      </p:sp>
    </p:spTree>
    <p:extLst>
      <p:ext uri="{BB962C8B-B14F-4D97-AF65-F5344CB8AC3E}">
        <p14:creationId xmlns:p14="http://schemas.microsoft.com/office/powerpoint/2010/main" val="2347322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4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3E909C-D1DC-74B6-E269-18545E9EB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7813" y="754161"/>
            <a:ext cx="11298685" cy="465103"/>
          </a:xfrm>
        </p:spPr>
        <p:txBody>
          <a:bodyPr/>
          <a:lstStyle>
            <a:lvl1pPr>
              <a:defRPr sz="2800" spc="-10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Image Title 28pt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1DB9517-380B-E731-16C5-312AB7658FA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77813" y="1219264"/>
            <a:ext cx="5735076" cy="5341872"/>
          </a:xfrm>
          <a:prstGeom prst="roundRect">
            <a:avLst>
              <a:gd name="adj" fmla="val 1974"/>
            </a:avLst>
          </a:prstGeom>
          <a:noFill/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EB1C213F-A56B-0AEA-514F-CC7689297AF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56889" y="1219264"/>
            <a:ext cx="5735076" cy="5341872"/>
          </a:xfrm>
          <a:prstGeom prst="roundRect">
            <a:avLst>
              <a:gd name="adj" fmla="val 1974"/>
            </a:avLst>
          </a:prstGeom>
          <a:noFill/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5514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3E909C-D1DC-74B6-E269-18545E9EB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7813" y="754161"/>
            <a:ext cx="11298685" cy="465103"/>
          </a:xfrm>
        </p:spPr>
        <p:txBody>
          <a:bodyPr/>
          <a:lstStyle>
            <a:lvl1pPr>
              <a:defRPr sz="2800" spc="-10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Image Title 28pt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1DB9517-380B-E731-16C5-312AB7658FA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77813" y="1219264"/>
            <a:ext cx="11614151" cy="5341872"/>
          </a:xfrm>
          <a:prstGeom prst="roundRect">
            <a:avLst>
              <a:gd name="adj" fmla="val 1974"/>
            </a:avLst>
          </a:prstGeom>
          <a:noFill/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0410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ject 11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476973" y="532347"/>
            <a:ext cx="5714592" cy="607118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EC763B1-4CBB-9747-FBB3-F524D99EF5C8}"/>
              </a:ext>
            </a:extLst>
          </p:cNvPr>
          <p:cNvGrpSpPr/>
          <p:nvPr userDrawn="1"/>
        </p:nvGrpSpPr>
        <p:grpSpPr>
          <a:xfrm>
            <a:off x="143595" y="135785"/>
            <a:ext cx="1089185" cy="288028"/>
            <a:chOff x="143595" y="135785"/>
            <a:chExt cx="1089185" cy="288028"/>
          </a:xfrm>
          <a:solidFill>
            <a:schemeClr val="bg1"/>
          </a:solidFill>
        </p:grpSpPr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11BC098D-8670-1613-A0B1-8B6FCABEC146}"/>
                </a:ext>
              </a:extLst>
            </p:cNvPr>
            <p:cNvSpPr/>
            <p:nvPr userDrawn="1"/>
          </p:nvSpPr>
          <p:spPr>
            <a:xfrm>
              <a:off x="478824" y="191457"/>
              <a:ext cx="753956" cy="175204"/>
            </a:xfrm>
            <a:custGeom>
              <a:avLst/>
              <a:gdLst/>
              <a:ahLst/>
              <a:cxnLst/>
              <a:rect l="l" t="t" r="r" b="b"/>
              <a:pathLst>
                <a:path w="1243330" h="288925">
                  <a:moveTo>
                    <a:pt x="39223" y="4994"/>
                  </a:moveTo>
                  <a:lnTo>
                    <a:pt x="0" y="4994"/>
                  </a:lnTo>
                  <a:lnTo>
                    <a:pt x="0" y="170361"/>
                  </a:lnTo>
                  <a:lnTo>
                    <a:pt x="6495" y="225537"/>
                  </a:lnTo>
                  <a:lnTo>
                    <a:pt x="26582" y="262179"/>
                  </a:lnTo>
                  <a:lnTo>
                    <a:pt x="61163" y="282523"/>
                  </a:lnTo>
                  <a:lnTo>
                    <a:pt x="111137" y="288807"/>
                  </a:lnTo>
                  <a:lnTo>
                    <a:pt x="162919" y="281285"/>
                  </a:lnTo>
                  <a:lnTo>
                    <a:pt x="197719" y="258621"/>
                  </a:lnTo>
                  <a:lnTo>
                    <a:pt x="199605" y="254966"/>
                  </a:lnTo>
                  <a:lnTo>
                    <a:pt x="111137" y="254966"/>
                  </a:lnTo>
                  <a:lnTo>
                    <a:pt x="77840" y="250140"/>
                  </a:lnTo>
                  <a:lnTo>
                    <a:pt x="55571" y="235401"/>
                  </a:lnTo>
                  <a:lnTo>
                    <a:pt x="43106" y="210350"/>
                  </a:lnTo>
                  <a:lnTo>
                    <a:pt x="39223" y="174591"/>
                  </a:lnTo>
                  <a:lnTo>
                    <a:pt x="39223" y="4994"/>
                  </a:lnTo>
                  <a:close/>
                </a:path>
                <a:path w="1243330" h="288925">
                  <a:moveTo>
                    <a:pt x="223438" y="4994"/>
                  </a:moveTo>
                  <a:lnTo>
                    <a:pt x="184214" y="4994"/>
                  </a:lnTo>
                  <a:lnTo>
                    <a:pt x="184214" y="170361"/>
                  </a:lnTo>
                  <a:lnTo>
                    <a:pt x="180314" y="206781"/>
                  </a:lnTo>
                  <a:lnTo>
                    <a:pt x="167725" y="233286"/>
                  </a:lnTo>
                  <a:lnTo>
                    <a:pt x="145111" y="249479"/>
                  </a:lnTo>
                  <a:lnTo>
                    <a:pt x="111137" y="254966"/>
                  </a:lnTo>
                  <a:lnTo>
                    <a:pt x="199605" y="254966"/>
                  </a:lnTo>
                  <a:lnTo>
                    <a:pt x="217302" y="220669"/>
                  </a:lnTo>
                  <a:lnTo>
                    <a:pt x="223438" y="167282"/>
                  </a:lnTo>
                  <a:lnTo>
                    <a:pt x="223438" y="4994"/>
                  </a:lnTo>
                  <a:close/>
                </a:path>
                <a:path w="1243330" h="288925">
                  <a:moveTo>
                    <a:pt x="313037" y="4994"/>
                  </a:moveTo>
                  <a:lnTo>
                    <a:pt x="273813" y="4994"/>
                  </a:lnTo>
                  <a:lnTo>
                    <a:pt x="273813" y="283802"/>
                  </a:lnTo>
                  <a:lnTo>
                    <a:pt x="313037" y="283802"/>
                  </a:lnTo>
                  <a:lnTo>
                    <a:pt x="313037" y="196130"/>
                  </a:lnTo>
                  <a:lnTo>
                    <a:pt x="356879" y="147670"/>
                  </a:lnTo>
                  <a:lnTo>
                    <a:pt x="403714" y="147670"/>
                  </a:lnTo>
                  <a:lnTo>
                    <a:pt x="402092" y="145367"/>
                  </a:lnTo>
                  <a:lnTo>
                    <a:pt x="313037" y="145367"/>
                  </a:lnTo>
                  <a:lnTo>
                    <a:pt x="313037" y="4994"/>
                  </a:lnTo>
                  <a:close/>
                </a:path>
                <a:path w="1243330" h="288925">
                  <a:moveTo>
                    <a:pt x="403714" y="147670"/>
                  </a:moveTo>
                  <a:lnTo>
                    <a:pt x="356879" y="147670"/>
                  </a:lnTo>
                  <a:lnTo>
                    <a:pt x="452635" y="283802"/>
                  </a:lnTo>
                  <a:lnTo>
                    <a:pt x="499555" y="283802"/>
                  </a:lnTo>
                  <a:lnTo>
                    <a:pt x="403714" y="147670"/>
                  </a:lnTo>
                  <a:close/>
                </a:path>
                <a:path w="1243330" h="288925">
                  <a:moveTo>
                    <a:pt x="487639" y="4994"/>
                  </a:moveTo>
                  <a:lnTo>
                    <a:pt x="438792" y="4994"/>
                  </a:lnTo>
                  <a:lnTo>
                    <a:pt x="313037" y="145367"/>
                  </a:lnTo>
                  <a:lnTo>
                    <a:pt x="402092" y="145367"/>
                  </a:lnTo>
                  <a:lnTo>
                    <a:pt x="383412" y="118834"/>
                  </a:lnTo>
                  <a:lnTo>
                    <a:pt x="487639" y="4994"/>
                  </a:lnTo>
                  <a:close/>
                </a:path>
                <a:path w="1243330" h="288925">
                  <a:moveTo>
                    <a:pt x="630692" y="0"/>
                  </a:moveTo>
                  <a:lnTo>
                    <a:pt x="587086" y="6688"/>
                  </a:lnTo>
                  <a:lnTo>
                    <a:pt x="551180" y="25818"/>
                  </a:lnTo>
                  <a:lnTo>
                    <a:pt x="524117" y="55986"/>
                  </a:lnTo>
                  <a:lnTo>
                    <a:pt x="507040" y="95790"/>
                  </a:lnTo>
                  <a:lnTo>
                    <a:pt x="501094" y="143828"/>
                  </a:lnTo>
                  <a:lnTo>
                    <a:pt x="506546" y="191167"/>
                  </a:lnTo>
                  <a:lnTo>
                    <a:pt x="506572" y="191394"/>
                  </a:lnTo>
                  <a:lnTo>
                    <a:pt x="522590" y="231410"/>
                  </a:lnTo>
                  <a:lnTo>
                    <a:pt x="548520" y="262141"/>
                  </a:lnTo>
                  <a:lnTo>
                    <a:pt x="583737" y="281852"/>
                  </a:lnTo>
                  <a:lnTo>
                    <a:pt x="627614" y="288807"/>
                  </a:lnTo>
                  <a:lnTo>
                    <a:pt x="670222" y="282799"/>
                  </a:lnTo>
                  <a:lnTo>
                    <a:pt x="706016" y="264965"/>
                  </a:lnTo>
                  <a:lnTo>
                    <a:pt x="714428" y="255740"/>
                  </a:lnTo>
                  <a:lnTo>
                    <a:pt x="629917" y="255740"/>
                  </a:lnTo>
                  <a:lnTo>
                    <a:pt x="594136" y="248205"/>
                  </a:lnTo>
                  <a:lnTo>
                    <a:pt x="566032" y="226320"/>
                  </a:lnTo>
                  <a:lnTo>
                    <a:pt x="547781" y="191394"/>
                  </a:lnTo>
                  <a:lnTo>
                    <a:pt x="547662" y="191167"/>
                  </a:lnTo>
                  <a:lnTo>
                    <a:pt x="541083" y="143828"/>
                  </a:lnTo>
                  <a:lnTo>
                    <a:pt x="547861" y="96019"/>
                  </a:lnTo>
                  <a:lnTo>
                    <a:pt x="566465" y="61334"/>
                  </a:lnTo>
                  <a:lnTo>
                    <a:pt x="594299" y="40206"/>
                  </a:lnTo>
                  <a:lnTo>
                    <a:pt x="628766" y="33067"/>
                  </a:lnTo>
                  <a:lnTo>
                    <a:pt x="713229" y="33067"/>
                  </a:lnTo>
                  <a:lnTo>
                    <a:pt x="705776" y="24564"/>
                  </a:lnTo>
                  <a:lnTo>
                    <a:pt x="671443" y="6279"/>
                  </a:lnTo>
                  <a:lnTo>
                    <a:pt x="630692" y="0"/>
                  </a:lnTo>
                  <a:close/>
                </a:path>
                <a:path w="1243330" h="288925">
                  <a:moveTo>
                    <a:pt x="748364" y="194978"/>
                  </a:moveTo>
                  <a:lnTo>
                    <a:pt x="710292" y="194978"/>
                  </a:lnTo>
                  <a:lnTo>
                    <a:pt x="700279" y="219557"/>
                  </a:lnTo>
                  <a:lnTo>
                    <a:pt x="683522" y="238768"/>
                  </a:lnTo>
                  <a:lnTo>
                    <a:pt x="660056" y="251275"/>
                  </a:lnTo>
                  <a:lnTo>
                    <a:pt x="629917" y="255740"/>
                  </a:lnTo>
                  <a:lnTo>
                    <a:pt x="714428" y="255740"/>
                  </a:lnTo>
                  <a:lnTo>
                    <a:pt x="732797" y="235595"/>
                  </a:lnTo>
                  <a:lnTo>
                    <a:pt x="748364" y="194978"/>
                  </a:lnTo>
                  <a:close/>
                </a:path>
                <a:path w="1243330" h="288925">
                  <a:moveTo>
                    <a:pt x="713229" y="33067"/>
                  </a:moveTo>
                  <a:lnTo>
                    <a:pt x="628766" y="33067"/>
                  </a:lnTo>
                  <a:lnTo>
                    <a:pt x="658788" y="37640"/>
                  </a:lnTo>
                  <a:lnTo>
                    <a:pt x="682318" y="50325"/>
                  </a:lnTo>
                  <a:lnTo>
                    <a:pt x="699069" y="69572"/>
                  </a:lnTo>
                  <a:lnTo>
                    <a:pt x="708753" y="93829"/>
                  </a:lnTo>
                  <a:lnTo>
                    <a:pt x="746825" y="93829"/>
                  </a:lnTo>
                  <a:lnTo>
                    <a:pt x="731601" y="54024"/>
                  </a:lnTo>
                  <a:lnTo>
                    <a:pt x="713229" y="33067"/>
                  </a:lnTo>
                  <a:close/>
                </a:path>
                <a:path w="1243330" h="288925">
                  <a:moveTo>
                    <a:pt x="975268" y="4994"/>
                  </a:moveTo>
                  <a:lnTo>
                    <a:pt x="786059" y="4994"/>
                  </a:lnTo>
                  <a:lnTo>
                    <a:pt x="786059" y="283802"/>
                  </a:lnTo>
                  <a:lnTo>
                    <a:pt x="975268" y="283802"/>
                  </a:lnTo>
                  <a:lnTo>
                    <a:pt x="975268" y="249971"/>
                  </a:lnTo>
                  <a:lnTo>
                    <a:pt x="825283" y="249971"/>
                  </a:lnTo>
                  <a:lnTo>
                    <a:pt x="825283" y="157283"/>
                  </a:lnTo>
                  <a:lnTo>
                    <a:pt x="966420" y="157283"/>
                  </a:lnTo>
                  <a:lnTo>
                    <a:pt x="966420" y="123441"/>
                  </a:lnTo>
                  <a:lnTo>
                    <a:pt x="825283" y="123441"/>
                  </a:lnTo>
                  <a:lnTo>
                    <a:pt x="825283" y="38836"/>
                  </a:lnTo>
                  <a:lnTo>
                    <a:pt x="975268" y="38836"/>
                  </a:lnTo>
                  <a:lnTo>
                    <a:pt x="975268" y="4994"/>
                  </a:lnTo>
                  <a:close/>
                </a:path>
                <a:path w="1243330" h="288925">
                  <a:moveTo>
                    <a:pt x="1057171" y="4994"/>
                  </a:moveTo>
                  <a:lnTo>
                    <a:pt x="1017948" y="4994"/>
                  </a:lnTo>
                  <a:lnTo>
                    <a:pt x="1017948" y="283802"/>
                  </a:lnTo>
                  <a:lnTo>
                    <a:pt x="1057171" y="283802"/>
                  </a:lnTo>
                  <a:lnTo>
                    <a:pt x="1057171" y="157283"/>
                  </a:lnTo>
                  <a:lnTo>
                    <a:pt x="1242925" y="157283"/>
                  </a:lnTo>
                  <a:lnTo>
                    <a:pt x="1242925" y="123441"/>
                  </a:lnTo>
                  <a:lnTo>
                    <a:pt x="1057171" y="123441"/>
                  </a:lnTo>
                  <a:lnTo>
                    <a:pt x="1057171" y="4994"/>
                  </a:lnTo>
                  <a:close/>
                </a:path>
                <a:path w="1243330" h="288925">
                  <a:moveTo>
                    <a:pt x="1242925" y="157283"/>
                  </a:moveTo>
                  <a:lnTo>
                    <a:pt x="1203701" y="157283"/>
                  </a:lnTo>
                  <a:lnTo>
                    <a:pt x="1203701" y="283802"/>
                  </a:lnTo>
                  <a:lnTo>
                    <a:pt x="1242925" y="283802"/>
                  </a:lnTo>
                  <a:lnTo>
                    <a:pt x="1242925" y="157283"/>
                  </a:lnTo>
                  <a:close/>
                </a:path>
                <a:path w="1243330" h="288925">
                  <a:moveTo>
                    <a:pt x="1242925" y="4994"/>
                  </a:moveTo>
                  <a:lnTo>
                    <a:pt x="1203701" y="4994"/>
                  </a:lnTo>
                  <a:lnTo>
                    <a:pt x="1203701" y="123441"/>
                  </a:lnTo>
                  <a:lnTo>
                    <a:pt x="1242925" y="123441"/>
                  </a:lnTo>
                  <a:lnTo>
                    <a:pt x="1242925" y="4994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9">
              <a:extLst>
                <a:ext uri="{FF2B5EF4-FFF2-40B4-BE49-F238E27FC236}">
                  <a16:creationId xmlns:a16="http://schemas.microsoft.com/office/drawing/2014/main" id="{CE2579DF-0B30-705B-C8FD-25AF551B5F6A}"/>
                </a:ext>
              </a:extLst>
            </p:cNvPr>
            <p:cNvSpPr/>
            <p:nvPr userDrawn="1"/>
          </p:nvSpPr>
          <p:spPr>
            <a:xfrm>
              <a:off x="143595" y="135785"/>
              <a:ext cx="288028" cy="288028"/>
            </a:xfrm>
            <a:custGeom>
              <a:avLst/>
              <a:gdLst/>
              <a:ahLst/>
              <a:cxnLst/>
              <a:rect l="l" t="t" r="r" b="b"/>
              <a:pathLst>
                <a:path w="474980" h="474980">
                  <a:moveTo>
                    <a:pt x="62826" y="237299"/>
                  </a:moveTo>
                  <a:lnTo>
                    <a:pt x="60350" y="225069"/>
                  </a:lnTo>
                  <a:lnTo>
                    <a:pt x="53619" y="215087"/>
                  </a:lnTo>
                  <a:lnTo>
                    <a:pt x="43637" y="208356"/>
                  </a:lnTo>
                  <a:lnTo>
                    <a:pt x="31407" y="205879"/>
                  </a:lnTo>
                  <a:lnTo>
                    <a:pt x="19177" y="208356"/>
                  </a:lnTo>
                  <a:lnTo>
                    <a:pt x="9194" y="215087"/>
                  </a:lnTo>
                  <a:lnTo>
                    <a:pt x="2463" y="225069"/>
                  </a:lnTo>
                  <a:lnTo>
                    <a:pt x="0" y="237299"/>
                  </a:lnTo>
                  <a:lnTo>
                    <a:pt x="2463" y="249516"/>
                  </a:lnTo>
                  <a:lnTo>
                    <a:pt x="9194" y="259499"/>
                  </a:lnTo>
                  <a:lnTo>
                    <a:pt x="19177" y="266230"/>
                  </a:lnTo>
                  <a:lnTo>
                    <a:pt x="31407" y="268693"/>
                  </a:lnTo>
                  <a:lnTo>
                    <a:pt x="43637" y="266230"/>
                  </a:lnTo>
                  <a:lnTo>
                    <a:pt x="53619" y="259499"/>
                  </a:lnTo>
                  <a:lnTo>
                    <a:pt x="60350" y="249516"/>
                  </a:lnTo>
                  <a:lnTo>
                    <a:pt x="62826" y="237299"/>
                  </a:lnTo>
                  <a:close/>
                </a:path>
                <a:path w="474980" h="474980">
                  <a:moveTo>
                    <a:pt x="90170" y="336346"/>
                  </a:moveTo>
                  <a:lnTo>
                    <a:pt x="86194" y="324523"/>
                  </a:lnTo>
                  <a:lnTo>
                    <a:pt x="77939" y="315175"/>
                  </a:lnTo>
                  <a:lnTo>
                    <a:pt x="67119" y="309892"/>
                  </a:lnTo>
                  <a:lnTo>
                    <a:pt x="55118" y="309054"/>
                  </a:lnTo>
                  <a:lnTo>
                    <a:pt x="43294" y="313029"/>
                  </a:lnTo>
                  <a:lnTo>
                    <a:pt x="33934" y="321284"/>
                  </a:lnTo>
                  <a:lnTo>
                    <a:pt x="28651" y="332105"/>
                  </a:lnTo>
                  <a:lnTo>
                    <a:pt x="27813" y="344106"/>
                  </a:lnTo>
                  <a:lnTo>
                    <a:pt x="31788" y="355930"/>
                  </a:lnTo>
                  <a:lnTo>
                    <a:pt x="40043" y="365290"/>
                  </a:lnTo>
                  <a:lnTo>
                    <a:pt x="50863" y="370560"/>
                  </a:lnTo>
                  <a:lnTo>
                    <a:pt x="62877" y="371398"/>
                  </a:lnTo>
                  <a:lnTo>
                    <a:pt x="74701" y="367423"/>
                  </a:lnTo>
                  <a:lnTo>
                    <a:pt x="84048" y="359181"/>
                  </a:lnTo>
                  <a:lnTo>
                    <a:pt x="89331" y="348361"/>
                  </a:lnTo>
                  <a:lnTo>
                    <a:pt x="90170" y="336346"/>
                  </a:lnTo>
                  <a:close/>
                </a:path>
                <a:path w="474980" h="474980">
                  <a:moveTo>
                    <a:pt x="90170" y="138239"/>
                  </a:moveTo>
                  <a:lnTo>
                    <a:pt x="89331" y="126225"/>
                  </a:lnTo>
                  <a:lnTo>
                    <a:pt x="84048" y="115404"/>
                  </a:lnTo>
                  <a:lnTo>
                    <a:pt x="74701" y="107149"/>
                  </a:lnTo>
                  <a:lnTo>
                    <a:pt x="62877" y="103174"/>
                  </a:lnTo>
                  <a:lnTo>
                    <a:pt x="50863" y="104013"/>
                  </a:lnTo>
                  <a:lnTo>
                    <a:pt x="40043" y="109296"/>
                  </a:lnTo>
                  <a:lnTo>
                    <a:pt x="31800" y="118656"/>
                  </a:lnTo>
                  <a:lnTo>
                    <a:pt x="27813" y="130479"/>
                  </a:lnTo>
                  <a:lnTo>
                    <a:pt x="28651" y="142481"/>
                  </a:lnTo>
                  <a:lnTo>
                    <a:pt x="33934" y="153301"/>
                  </a:lnTo>
                  <a:lnTo>
                    <a:pt x="43281" y="161556"/>
                  </a:lnTo>
                  <a:lnTo>
                    <a:pt x="55105" y="165519"/>
                  </a:lnTo>
                  <a:lnTo>
                    <a:pt x="67119" y="164693"/>
                  </a:lnTo>
                  <a:lnTo>
                    <a:pt x="77939" y="159410"/>
                  </a:lnTo>
                  <a:lnTo>
                    <a:pt x="86194" y="150050"/>
                  </a:lnTo>
                  <a:lnTo>
                    <a:pt x="90170" y="138239"/>
                  </a:lnTo>
                  <a:close/>
                </a:path>
                <a:path w="474980" h="474980">
                  <a:moveTo>
                    <a:pt x="141947" y="237286"/>
                  </a:moveTo>
                  <a:lnTo>
                    <a:pt x="140106" y="228117"/>
                  </a:lnTo>
                  <a:lnTo>
                    <a:pt x="135051" y="220637"/>
                  </a:lnTo>
                  <a:lnTo>
                    <a:pt x="127571" y="215582"/>
                  </a:lnTo>
                  <a:lnTo>
                    <a:pt x="118402" y="213741"/>
                  </a:lnTo>
                  <a:lnTo>
                    <a:pt x="109232" y="215582"/>
                  </a:lnTo>
                  <a:lnTo>
                    <a:pt x="101752" y="220637"/>
                  </a:lnTo>
                  <a:lnTo>
                    <a:pt x="96697" y="228117"/>
                  </a:lnTo>
                  <a:lnTo>
                    <a:pt x="94856" y="237286"/>
                  </a:lnTo>
                  <a:lnTo>
                    <a:pt x="96697" y="246456"/>
                  </a:lnTo>
                  <a:lnTo>
                    <a:pt x="101752" y="253949"/>
                  </a:lnTo>
                  <a:lnTo>
                    <a:pt x="109232" y="258991"/>
                  </a:lnTo>
                  <a:lnTo>
                    <a:pt x="118402" y="260845"/>
                  </a:lnTo>
                  <a:lnTo>
                    <a:pt x="127571" y="258991"/>
                  </a:lnTo>
                  <a:lnTo>
                    <a:pt x="135051" y="253949"/>
                  </a:lnTo>
                  <a:lnTo>
                    <a:pt x="140106" y="246456"/>
                  </a:lnTo>
                  <a:lnTo>
                    <a:pt x="141947" y="237286"/>
                  </a:lnTo>
                  <a:close/>
                </a:path>
                <a:path w="474980" h="474980">
                  <a:moveTo>
                    <a:pt x="165519" y="419468"/>
                  </a:moveTo>
                  <a:lnTo>
                    <a:pt x="164680" y="407454"/>
                  </a:lnTo>
                  <a:lnTo>
                    <a:pt x="159397" y="396633"/>
                  </a:lnTo>
                  <a:lnTo>
                    <a:pt x="150050" y="388378"/>
                  </a:lnTo>
                  <a:lnTo>
                    <a:pt x="138226" y="384403"/>
                  </a:lnTo>
                  <a:lnTo>
                    <a:pt x="126212" y="385241"/>
                  </a:lnTo>
                  <a:lnTo>
                    <a:pt x="115392" y="390525"/>
                  </a:lnTo>
                  <a:lnTo>
                    <a:pt x="107149" y="399884"/>
                  </a:lnTo>
                  <a:lnTo>
                    <a:pt x="103174" y="411708"/>
                  </a:lnTo>
                  <a:lnTo>
                    <a:pt x="104013" y="423710"/>
                  </a:lnTo>
                  <a:lnTo>
                    <a:pt x="109296" y="434530"/>
                  </a:lnTo>
                  <a:lnTo>
                    <a:pt x="118643" y="442785"/>
                  </a:lnTo>
                  <a:lnTo>
                    <a:pt x="130467" y="446760"/>
                  </a:lnTo>
                  <a:lnTo>
                    <a:pt x="142481" y="445922"/>
                  </a:lnTo>
                  <a:lnTo>
                    <a:pt x="153301" y="440639"/>
                  </a:lnTo>
                  <a:lnTo>
                    <a:pt x="161544" y="431292"/>
                  </a:lnTo>
                  <a:lnTo>
                    <a:pt x="165519" y="419468"/>
                  </a:lnTo>
                  <a:close/>
                </a:path>
                <a:path w="474980" h="474980">
                  <a:moveTo>
                    <a:pt x="165519" y="55118"/>
                  </a:moveTo>
                  <a:lnTo>
                    <a:pt x="161544" y="43294"/>
                  </a:lnTo>
                  <a:lnTo>
                    <a:pt x="153301" y="33947"/>
                  </a:lnTo>
                  <a:lnTo>
                    <a:pt x="142481" y="28663"/>
                  </a:lnTo>
                  <a:lnTo>
                    <a:pt x="130467" y="27825"/>
                  </a:lnTo>
                  <a:lnTo>
                    <a:pt x="118643" y="31800"/>
                  </a:lnTo>
                  <a:lnTo>
                    <a:pt x="109296" y="40043"/>
                  </a:lnTo>
                  <a:lnTo>
                    <a:pt x="104013" y="50876"/>
                  </a:lnTo>
                  <a:lnTo>
                    <a:pt x="103174" y="62890"/>
                  </a:lnTo>
                  <a:lnTo>
                    <a:pt x="107149" y="74714"/>
                  </a:lnTo>
                  <a:lnTo>
                    <a:pt x="115404" y="84061"/>
                  </a:lnTo>
                  <a:lnTo>
                    <a:pt x="126212" y="89331"/>
                  </a:lnTo>
                  <a:lnTo>
                    <a:pt x="138226" y="90170"/>
                  </a:lnTo>
                  <a:lnTo>
                    <a:pt x="150050" y="86194"/>
                  </a:lnTo>
                  <a:lnTo>
                    <a:pt x="159410" y="77952"/>
                  </a:lnTo>
                  <a:lnTo>
                    <a:pt x="164680" y="67132"/>
                  </a:lnTo>
                  <a:lnTo>
                    <a:pt x="165519" y="55118"/>
                  </a:lnTo>
                  <a:close/>
                </a:path>
                <a:path w="474980" h="474980">
                  <a:moveTo>
                    <a:pt x="176771" y="321348"/>
                  </a:moveTo>
                  <a:lnTo>
                    <a:pt x="175056" y="312483"/>
                  </a:lnTo>
                  <a:lnTo>
                    <a:pt x="169875" y="304698"/>
                  </a:lnTo>
                  <a:lnTo>
                    <a:pt x="162077" y="299529"/>
                  </a:lnTo>
                  <a:lnTo>
                    <a:pt x="153225" y="297802"/>
                  </a:lnTo>
                  <a:lnTo>
                    <a:pt x="144360" y="299529"/>
                  </a:lnTo>
                  <a:lnTo>
                    <a:pt x="136563" y="304698"/>
                  </a:lnTo>
                  <a:lnTo>
                    <a:pt x="131394" y="312483"/>
                  </a:lnTo>
                  <a:lnTo>
                    <a:pt x="129667" y="321348"/>
                  </a:lnTo>
                  <a:lnTo>
                    <a:pt x="131394" y="330212"/>
                  </a:lnTo>
                  <a:lnTo>
                    <a:pt x="136563" y="338010"/>
                  </a:lnTo>
                  <a:lnTo>
                    <a:pt x="144360" y="343179"/>
                  </a:lnTo>
                  <a:lnTo>
                    <a:pt x="153225" y="344906"/>
                  </a:lnTo>
                  <a:lnTo>
                    <a:pt x="162077" y="343179"/>
                  </a:lnTo>
                  <a:lnTo>
                    <a:pt x="169875" y="338010"/>
                  </a:lnTo>
                  <a:lnTo>
                    <a:pt x="175056" y="330212"/>
                  </a:lnTo>
                  <a:lnTo>
                    <a:pt x="176771" y="321348"/>
                  </a:lnTo>
                  <a:close/>
                </a:path>
                <a:path w="474980" h="474980">
                  <a:moveTo>
                    <a:pt x="176784" y="153225"/>
                  </a:moveTo>
                  <a:lnTo>
                    <a:pt x="175056" y="144360"/>
                  </a:lnTo>
                  <a:lnTo>
                    <a:pt x="169875" y="136575"/>
                  </a:lnTo>
                  <a:lnTo>
                    <a:pt x="162090" y="131394"/>
                  </a:lnTo>
                  <a:lnTo>
                    <a:pt x="153225" y="129679"/>
                  </a:lnTo>
                  <a:lnTo>
                    <a:pt x="144360" y="131394"/>
                  </a:lnTo>
                  <a:lnTo>
                    <a:pt x="136575" y="136575"/>
                  </a:lnTo>
                  <a:lnTo>
                    <a:pt x="131394" y="144360"/>
                  </a:lnTo>
                  <a:lnTo>
                    <a:pt x="129667" y="153225"/>
                  </a:lnTo>
                  <a:lnTo>
                    <a:pt x="131394" y="162090"/>
                  </a:lnTo>
                  <a:lnTo>
                    <a:pt x="136575" y="169875"/>
                  </a:lnTo>
                  <a:lnTo>
                    <a:pt x="144360" y="175056"/>
                  </a:lnTo>
                  <a:lnTo>
                    <a:pt x="153225" y="176784"/>
                  </a:lnTo>
                  <a:lnTo>
                    <a:pt x="162090" y="175056"/>
                  </a:lnTo>
                  <a:lnTo>
                    <a:pt x="169875" y="169875"/>
                  </a:lnTo>
                  <a:lnTo>
                    <a:pt x="175056" y="162090"/>
                  </a:lnTo>
                  <a:lnTo>
                    <a:pt x="176784" y="153225"/>
                  </a:lnTo>
                  <a:close/>
                </a:path>
                <a:path w="474980" h="474980">
                  <a:moveTo>
                    <a:pt x="209016" y="261874"/>
                  </a:moveTo>
                  <a:lnTo>
                    <a:pt x="201853" y="249478"/>
                  </a:lnTo>
                  <a:lnTo>
                    <a:pt x="193941" y="247357"/>
                  </a:lnTo>
                  <a:lnTo>
                    <a:pt x="187744" y="250939"/>
                  </a:lnTo>
                  <a:lnTo>
                    <a:pt x="181546" y="254520"/>
                  </a:lnTo>
                  <a:lnTo>
                    <a:pt x="179412" y="262432"/>
                  </a:lnTo>
                  <a:lnTo>
                    <a:pt x="186575" y="274828"/>
                  </a:lnTo>
                  <a:lnTo>
                    <a:pt x="194500" y="276961"/>
                  </a:lnTo>
                  <a:lnTo>
                    <a:pt x="206895" y="269798"/>
                  </a:lnTo>
                  <a:lnTo>
                    <a:pt x="209016" y="261874"/>
                  </a:lnTo>
                  <a:close/>
                </a:path>
                <a:path w="474980" h="474980">
                  <a:moveTo>
                    <a:pt x="209016" y="212699"/>
                  </a:moveTo>
                  <a:lnTo>
                    <a:pt x="206895" y="204787"/>
                  </a:lnTo>
                  <a:lnTo>
                    <a:pt x="200698" y="201206"/>
                  </a:lnTo>
                  <a:lnTo>
                    <a:pt x="194500" y="197624"/>
                  </a:lnTo>
                  <a:lnTo>
                    <a:pt x="186575" y="199745"/>
                  </a:lnTo>
                  <a:lnTo>
                    <a:pt x="179425" y="212153"/>
                  </a:lnTo>
                  <a:lnTo>
                    <a:pt x="181546" y="220078"/>
                  </a:lnTo>
                  <a:lnTo>
                    <a:pt x="193941" y="227228"/>
                  </a:lnTo>
                  <a:lnTo>
                    <a:pt x="201853" y="225107"/>
                  </a:lnTo>
                  <a:lnTo>
                    <a:pt x="209016" y="212699"/>
                  </a:lnTo>
                  <a:close/>
                </a:path>
                <a:path w="474980" h="474980">
                  <a:moveTo>
                    <a:pt x="250240" y="279869"/>
                  </a:moveTo>
                  <a:lnTo>
                    <a:pt x="244449" y="274066"/>
                  </a:lnTo>
                  <a:lnTo>
                    <a:pt x="230136" y="274066"/>
                  </a:lnTo>
                  <a:lnTo>
                    <a:pt x="224332" y="279869"/>
                  </a:lnTo>
                  <a:lnTo>
                    <a:pt x="224332" y="287020"/>
                  </a:lnTo>
                  <a:lnTo>
                    <a:pt x="224332" y="294170"/>
                  </a:lnTo>
                  <a:lnTo>
                    <a:pt x="230136" y="299974"/>
                  </a:lnTo>
                  <a:lnTo>
                    <a:pt x="244449" y="299974"/>
                  </a:lnTo>
                  <a:lnTo>
                    <a:pt x="250240" y="294170"/>
                  </a:lnTo>
                  <a:lnTo>
                    <a:pt x="250240" y="279869"/>
                  </a:lnTo>
                  <a:close/>
                </a:path>
                <a:path w="474980" h="474980">
                  <a:moveTo>
                    <a:pt x="250240" y="180416"/>
                  </a:moveTo>
                  <a:lnTo>
                    <a:pt x="244436" y="174612"/>
                  </a:lnTo>
                  <a:lnTo>
                    <a:pt x="230124" y="174612"/>
                  </a:lnTo>
                  <a:lnTo>
                    <a:pt x="224332" y="180416"/>
                  </a:lnTo>
                  <a:lnTo>
                    <a:pt x="224332" y="194716"/>
                  </a:lnTo>
                  <a:lnTo>
                    <a:pt x="230124" y="200520"/>
                  </a:lnTo>
                  <a:lnTo>
                    <a:pt x="244436" y="200520"/>
                  </a:lnTo>
                  <a:lnTo>
                    <a:pt x="250240" y="194716"/>
                  </a:lnTo>
                  <a:lnTo>
                    <a:pt x="250240" y="187566"/>
                  </a:lnTo>
                  <a:lnTo>
                    <a:pt x="250240" y="180416"/>
                  </a:lnTo>
                  <a:close/>
                </a:path>
                <a:path w="474980" h="474980">
                  <a:moveTo>
                    <a:pt x="260832" y="356171"/>
                  </a:moveTo>
                  <a:lnTo>
                    <a:pt x="258991" y="347002"/>
                  </a:lnTo>
                  <a:lnTo>
                    <a:pt x="253936" y="339521"/>
                  </a:lnTo>
                  <a:lnTo>
                    <a:pt x="246456" y="334479"/>
                  </a:lnTo>
                  <a:lnTo>
                    <a:pt x="237274" y="332625"/>
                  </a:lnTo>
                  <a:lnTo>
                    <a:pt x="228117" y="334479"/>
                  </a:lnTo>
                  <a:lnTo>
                    <a:pt x="220624" y="339521"/>
                  </a:lnTo>
                  <a:lnTo>
                    <a:pt x="215582" y="347002"/>
                  </a:lnTo>
                  <a:lnTo>
                    <a:pt x="213728" y="356171"/>
                  </a:lnTo>
                  <a:lnTo>
                    <a:pt x="215582" y="365340"/>
                  </a:lnTo>
                  <a:lnTo>
                    <a:pt x="220624" y="372833"/>
                  </a:lnTo>
                  <a:lnTo>
                    <a:pt x="228117" y="377875"/>
                  </a:lnTo>
                  <a:lnTo>
                    <a:pt x="237274" y="379717"/>
                  </a:lnTo>
                  <a:lnTo>
                    <a:pt x="246456" y="377875"/>
                  </a:lnTo>
                  <a:lnTo>
                    <a:pt x="253936" y="372833"/>
                  </a:lnTo>
                  <a:lnTo>
                    <a:pt x="258991" y="365340"/>
                  </a:lnTo>
                  <a:lnTo>
                    <a:pt x="260832" y="356171"/>
                  </a:lnTo>
                  <a:close/>
                </a:path>
                <a:path w="474980" h="474980">
                  <a:moveTo>
                    <a:pt x="260845" y="118402"/>
                  </a:moveTo>
                  <a:lnTo>
                    <a:pt x="258991" y="109245"/>
                  </a:lnTo>
                  <a:lnTo>
                    <a:pt x="253936" y="101752"/>
                  </a:lnTo>
                  <a:lnTo>
                    <a:pt x="246456" y="96710"/>
                  </a:lnTo>
                  <a:lnTo>
                    <a:pt x="237286" y="94856"/>
                  </a:lnTo>
                  <a:lnTo>
                    <a:pt x="228117" y="96710"/>
                  </a:lnTo>
                  <a:lnTo>
                    <a:pt x="220637" y="101752"/>
                  </a:lnTo>
                  <a:lnTo>
                    <a:pt x="215582" y="109245"/>
                  </a:lnTo>
                  <a:lnTo>
                    <a:pt x="213728" y="118402"/>
                  </a:lnTo>
                  <a:lnTo>
                    <a:pt x="215582" y="127584"/>
                  </a:lnTo>
                  <a:lnTo>
                    <a:pt x="220637" y="135064"/>
                  </a:lnTo>
                  <a:lnTo>
                    <a:pt x="228117" y="140119"/>
                  </a:lnTo>
                  <a:lnTo>
                    <a:pt x="237286" y="141960"/>
                  </a:lnTo>
                  <a:lnTo>
                    <a:pt x="246456" y="140119"/>
                  </a:lnTo>
                  <a:lnTo>
                    <a:pt x="253936" y="135064"/>
                  </a:lnTo>
                  <a:lnTo>
                    <a:pt x="258991" y="127584"/>
                  </a:lnTo>
                  <a:lnTo>
                    <a:pt x="260845" y="118402"/>
                  </a:lnTo>
                  <a:close/>
                </a:path>
                <a:path w="474980" h="474980">
                  <a:moveTo>
                    <a:pt x="268693" y="443166"/>
                  </a:moveTo>
                  <a:lnTo>
                    <a:pt x="266230" y="430936"/>
                  </a:lnTo>
                  <a:lnTo>
                    <a:pt x="259499" y="420954"/>
                  </a:lnTo>
                  <a:lnTo>
                    <a:pt x="249516" y="414223"/>
                  </a:lnTo>
                  <a:lnTo>
                    <a:pt x="237286" y="411746"/>
                  </a:lnTo>
                  <a:lnTo>
                    <a:pt x="225069" y="414223"/>
                  </a:lnTo>
                  <a:lnTo>
                    <a:pt x="215074" y="420954"/>
                  </a:lnTo>
                  <a:lnTo>
                    <a:pt x="208343" y="430936"/>
                  </a:lnTo>
                  <a:lnTo>
                    <a:pt x="205879" y="443166"/>
                  </a:lnTo>
                  <a:lnTo>
                    <a:pt x="208343" y="455396"/>
                  </a:lnTo>
                  <a:lnTo>
                    <a:pt x="215074" y="465378"/>
                  </a:lnTo>
                  <a:lnTo>
                    <a:pt x="225069" y="472109"/>
                  </a:lnTo>
                  <a:lnTo>
                    <a:pt x="237286" y="474573"/>
                  </a:lnTo>
                  <a:lnTo>
                    <a:pt x="249516" y="472109"/>
                  </a:lnTo>
                  <a:lnTo>
                    <a:pt x="259499" y="465378"/>
                  </a:lnTo>
                  <a:lnTo>
                    <a:pt x="266230" y="455396"/>
                  </a:lnTo>
                  <a:lnTo>
                    <a:pt x="268693" y="443166"/>
                  </a:lnTo>
                  <a:close/>
                </a:path>
                <a:path w="474980" h="474980">
                  <a:moveTo>
                    <a:pt x="268693" y="31419"/>
                  </a:moveTo>
                  <a:lnTo>
                    <a:pt x="266230" y="19189"/>
                  </a:lnTo>
                  <a:lnTo>
                    <a:pt x="259486" y="9207"/>
                  </a:lnTo>
                  <a:lnTo>
                    <a:pt x="249504" y="2476"/>
                  </a:lnTo>
                  <a:lnTo>
                    <a:pt x="237274" y="0"/>
                  </a:lnTo>
                  <a:lnTo>
                    <a:pt x="225056" y="2476"/>
                  </a:lnTo>
                  <a:lnTo>
                    <a:pt x="215074" y="9207"/>
                  </a:lnTo>
                  <a:lnTo>
                    <a:pt x="208343" y="19189"/>
                  </a:lnTo>
                  <a:lnTo>
                    <a:pt x="205879" y="31419"/>
                  </a:lnTo>
                  <a:lnTo>
                    <a:pt x="208343" y="43649"/>
                  </a:lnTo>
                  <a:lnTo>
                    <a:pt x="215074" y="53632"/>
                  </a:lnTo>
                  <a:lnTo>
                    <a:pt x="225056" y="60363"/>
                  </a:lnTo>
                  <a:lnTo>
                    <a:pt x="237274" y="62826"/>
                  </a:lnTo>
                  <a:lnTo>
                    <a:pt x="249504" y="60363"/>
                  </a:lnTo>
                  <a:lnTo>
                    <a:pt x="259486" y="53632"/>
                  </a:lnTo>
                  <a:lnTo>
                    <a:pt x="266230" y="43649"/>
                  </a:lnTo>
                  <a:lnTo>
                    <a:pt x="268693" y="31419"/>
                  </a:lnTo>
                  <a:close/>
                </a:path>
                <a:path w="474980" h="474980">
                  <a:moveTo>
                    <a:pt x="295148" y="262432"/>
                  </a:moveTo>
                  <a:lnTo>
                    <a:pt x="293027" y="254508"/>
                  </a:lnTo>
                  <a:lnTo>
                    <a:pt x="280631" y="247357"/>
                  </a:lnTo>
                  <a:lnTo>
                    <a:pt x="272707" y="249478"/>
                  </a:lnTo>
                  <a:lnTo>
                    <a:pt x="265544" y="261874"/>
                  </a:lnTo>
                  <a:lnTo>
                    <a:pt x="267677" y="269798"/>
                  </a:lnTo>
                  <a:lnTo>
                    <a:pt x="273875" y="273380"/>
                  </a:lnTo>
                  <a:lnTo>
                    <a:pt x="280073" y="276961"/>
                  </a:lnTo>
                  <a:lnTo>
                    <a:pt x="287985" y="274828"/>
                  </a:lnTo>
                  <a:lnTo>
                    <a:pt x="295148" y="262432"/>
                  </a:lnTo>
                  <a:close/>
                </a:path>
                <a:path w="474980" h="474980">
                  <a:moveTo>
                    <a:pt x="295148" y="212153"/>
                  </a:moveTo>
                  <a:lnTo>
                    <a:pt x="287985" y="199758"/>
                  </a:lnTo>
                  <a:lnTo>
                    <a:pt x="280073" y="197624"/>
                  </a:lnTo>
                  <a:lnTo>
                    <a:pt x="267677" y="204774"/>
                  </a:lnTo>
                  <a:lnTo>
                    <a:pt x="265557" y="212699"/>
                  </a:lnTo>
                  <a:lnTo>
                    <a:pt x="272707" y="225107"/>
                  </a:lnTo>
                  <a:lnTo>
                    <a:pt x="280631" y="227228"/>
                  </a:lnTo>
                  <a:lnTo>
                    <a:pt x="286829" y="223647"/>
                  </a:lnTo>
                  <a:lnTo>
                    <a:pt x="293027" y="220065"/>
                  </a:lnTo>
                  <a:lnTo>
                    <a:pt x="295148" y="212153"/>
                  </a:lnTo>
                  <a:close/>
                </a:path>
                <a:path w="474980" h="474980">
                  <a:moveTo>
                    <a:pt x="344893" y="153225"/>
                  </a:moveTo>
                  <a:lnTo>
                    <a:pt x="343179" y="144360"/>
                  </a:lnTo>
                  <a:lnTo>
                    <a:pt x="338010" y="136575"/>
                  </a:lnTo>
                  <a:lnTo>
                    <a:pt x="330212" y="131394"/>
                  </a:lnTo>
                  <a:lnTo>
                    <a:pt x="321348" y="129667"/>
                  </a:lnTo>
                  <a:lnTo>
                    <a:pt x="312483" y="131394"/>
                  </a:lnTo>
                  <a:lnTo>
                    <a:pt x="304698" y="136575"/>
                  </a:lnTo>
                  <a:lnTo>
                    <a:pt x="299516" y="144360"/>
                  </a:lnTo>
                  <a:lnTo>
                    <a:pt x="297789" y="153225"/>
                  </a:lnTo>
                  <a:lnTo>
                    <a:pt x="299516" y="162090"/>
                  </a:lnTo>
                  <a:lnTo>
                    <a:pt x="304698" y="169887"/>
                  </a:lnTo>
                  <a:lnTo>
                    <a:pt x="312483" y="175056"/>
                  </a:lnTo>
                  <a:lnTo>
                    <a:pt x="321348" y="176784"/>
                  </a:lnTo>
                  <a:lnTo>
                    <a:pt x="330212" y="175056"/>
                  </a:lnTo>
                  <a:lnTo>
                    <a:pt x="338010" y="169887"/>
                  </a:lnTo>
                  <a:lnTo>
                    <a:pt x="343179" y="162090"/>
                  </a:lnTo>
                  <a:lnTo>
                    <a:pt x="344893" y="153225"/>
                  </a:lnTo>
                  <a:close/>
                </a:path>
                <a:path w="474980" h="474980">
                  <a:moveTo>
                    <a:pt x="344906" y="321348"/>
                  </a:moveTo>
                  <a:lnTo>
                    <a:pt x="343179" y="312496"/>
                  </a:lnTo>
                  <a:lnTo>
                    <a:pt x="337997" y="304698"/>
                  </a:lnTo>
                  <a:lnTo>
                    <a:pt x="330212" y="299529"/>
                  </a:lnTo>
                  <a:lnTo>
                    <a:pt x="321348" y="297802"/>
                  </a:lnTo>
                  <a:lnTo>
                    <a:pt x="312483" y="299529"/>
                  </a:lnTo>
                  <a:lnTo>
                    <a:pt x="304698" y="304698"/>
                  </a:lnTo>
                  <a:lnTo>
                    <a:pt x="299516" y="312496"/>
                  </a:lnTo>
                  <a:lnTo>
                    <a:pt x="297802" y="321348"/>
                  </a:lnTo>
                  <a:lnTo>
                    <a:pt x="299516" y="330212"/>
                  </a:lnTo>
                  <a:lnTo>
                    <a:pt x="304698" y="338010"/>
                  </a:lnTo>
                  <a:lnTo>
                    <a:pt x="312483" y="343179"/>
                  </a:lnTo>
                  <a:lnTo>
                    <a:pt x="321348" y="344906"/>
                  </a:lnTo>
                  <a:lnTo>
                    <a:pt x="330212" y="343179"/>
                  </a:lnTo>
                  <a:lnTo>
                    <a:pt x="337997" y="338010"/>
                  </a:lnTo>
                  <a:lnTo>
                    <a:pt x="343179" y="330212"/>
                  </a:lnTo>
                  <a:lnTo>
                    <a:pt x="344906" y="321348"/>
                  </a:lnTo>
                  <a:close/>
                </a:path>
                <a:path w="474980" h="474980">
                  <a:moveTo>
                    <a:pt x="371398" y="411695"/>
                  </a:moveTo>
                  <a:lnTo>
                    <a:pt x="367423" y="399872"/>
                  </a:lnTo>
                  <a:lnTo>
                    <a:pt x="359168" y="390525"/>
                  </a:lnTo>
                  <a:lnTo>
                    <a:pt x="348348" y="385241"/>
                  </a:lnTo>
                  <a:lnTo>
                    <a:pt x="336346" y="384403"/>
                  </a:lnTo>
                  <a:lnTo>
                    <a:pt x="324523" y="388391"/>
                  </a:lnTo>
                  <a:lnTo>
                    <a:pt x="315163" y="396633"/>
                  </a:lnTo>
                  <a:lnTo>
                    <a:pt x="309880" y="407454"/>
                  </a:lnTo>
                  <a:lnTo>
                    <a:pt x="309054" y="419468"/>
                  </a:lnTo>
                  <a:lnTo>
                    <a:pt x="313016" y="431292"/>
                  </a:lnTo>
                  <a:lnTo>
                    <a:pt x="321271" y="440639"/>
                  </a:lnTo>
                  <a:lnTo>
                    <a:pt x="332092" y="445922"/>
                  </a:lnTo>
                  <a:lnTo>
                    <a:pt x="344106" y="446760"/>
                  </a:lnTo>
                  <a:lnTo>
                    <a:pt x="355917" y="442785"/>
                  </a:lnTo>
                  <a:lnTo>
                    <a:pt x="365277" y="434530"/>
                  </a:lnTo>
                  <a:lnTo>
                    <a:pt x="370560" y="423710"/>
                  </a:lnTo>
                  <a:lnTo>
                    <a:pt x="371398" y="411695"/>
                  </a:lnTo>
                  <a:close/>
                </a:path>
                <a:path w="474980" h="474980">
                  <a:moveTo>
                    <a:pt x="371398" y="62877"/>
                  </a:moveTo>
                  <a:lnTo>
                    <a:pt x="370560" y="50863"/>
                  </a:lnTo>
                  <a:lnTo>
                    <a:pt x="365277" y="40055"/>
                  </a:lnTo>
                  <a:lnTo>
                    <a:pt x="355930" y="31800"/>
                  </a:lnTo>
                  <a:lnTo>
                    <a:pt x="344106" y="27825"/>
                  </a:lnTo>
                  <a:lnTo>
                    <a:pt x="332092" y="28663"/>
                  </a:lnTo>
                  <a:lnTo>
                    <a:pt x="321271" y="33934"/>
                  </a:lnTo>
                  <a:lnTo>
                    <a:pt x="313029" y="43294"/>
                  </a:lnTo>
                  <a:lnTo>
                    <a:pt x="309054" y="55118"/>
                  </a:lnTo>
                  <a:lnTo>
                    <a:pt x="309892" y="67132"/>
                  </a:lnTo>
                  <a:lnTo>
                    <a:pt x="315163" y="77952"/>
                  </a:lnTo>
                  <a:lnTo>
                    <a:pt x="324523" y="86194"/>
                  </a:lnTo>
                  <a:lnTo>
                    <a:pt x="336346" y="90170"/>
                  </a:lnTo>
                  <a:lnTo>
                    <a:pt x="348348" y="89331"/>
                  </a:lnTo>
                  <a:lnTo>
                    <a:pt x="359168" y="84061"/>
                  </a:lnTo>
                  <a:lnTo>
                    <a:pt x="367423" y="74701"/>
                  </a:lnTo>
                  <a:lnTo>
                    <a:pt x="371398" y="62877"/>
                  </a:lnTo>
                  <a:close/>
                </a:path>
                <a:path w="474980" h="474980">
                  <a:moveTo>
                    <a:pt x="379717" y="237286"/>
                  </a:moveTo>
                  <a:lnTo>
                    <a:pt x="377863" y="228117"/>
                  </a:lnTo>
                  <a:lnTo>
                    <a:pt x="372821" y="220637"/>
                  </a:lnTo>
                  <a:lnTo>
                    <a:pt x="365340" y="215582"/>
                  </a:lnTo>
                  <a:lnTo>
                    <a:pt x="356171" y="213741"/>
                  </a:lnTo>
                  <a:lnTo>
                    <a:pt x="347002" y="215582"/>
                  </a:lnTo>
                  <a:lnTo>
                    <a:pt x="339509" y="220637"/>
                  </a:lnTo>
                  <a:lnTo>
                    <a:pt x="334467" y="228117"/>
                  </a:lnTo>
                  <a:lnTo>
                    <a:pt x="332625" y="237286"/>
                  </a:lnTo>
                  <a:lnTo>
                    <a:pt x="334467" y="246456"/>
                  </a:lnTo>
                  <a:lnTo>
                    <a:pt x="339509" y="253949"/>
                  </a:lnTo>
                  <a:lnTo>
                    <a:pt x="347002" y="258991"/>
                  </a:lnTo>
                  <a:lnTo>
                    <a:pt x="356171" y="260845"/>
                  </a:lnTo>
                  <a:lnTo>
                    <a:pt x="365340" y="258991"/>
                  </a:lnTo>
                  <a:lnTo>
                    <a:pt x="372821" y="253949"/>
                  </a:lnTo>
                  <a:lnTo>
                    <a:pt x="377863" y="246456"/>
                  </a:lnTo>
                  <a:lnTo>
                    <a:pt x="379717" y="237286"/>
                  </a:lnTo>
                  <a:close/>
                </a:path>
                <a:path w="474980" h="474980">
                  <a:moveTo>
                    <a:pt x="446747" y="344106"/>
                  </a:moveTo>
                  <a:lnTo>
                    <a:pt x="445909" y="332092"/>
                  </a:lnTo>
                  <a:lnTo>
                    <a:pt x="440639" y="321284"/>
                  </a:lnTo>
                  <a:lnTo>
                    <a:pt x="431292" y="313029"/>
                  </a:lnTo>
                  <a:lnTo>
                    <a:pt x="419468" y="309054"/>
                  </a:lnTo>
                  <a:lnTo>
                    <a:pt x="407454" y="309892"/>
                  </a:lnTo>
                  <a:lnTo>
                    <a:pt x="396621" y="315175"/>
                  </a:lnTo>
                  <a:lnTo>
                    <a:pt x="388378" y="324523"/>
                  </a:lnTo>
                  <a:lnTo>
                    <a:pt x="384403" y="336346"/>
                  </a:lnTo>
                  <a:lnTo>
                    <a:pt x="385241" y="348361"/>
                  </a:lnTo>
                  <a:lnTo>
                    <a:pt x="390525" y="359181"/>
                  </a:lnTo>
                  <a:lnTo>
                    <a:pt x="399872" y="367423"/>
                  </a:lnTo>
                  <a:lnTo>
                    <a:pt x="411695" y="371398"/>
                  </a:lnTo>
                  <a:lnTo>
                    <a:pt x="423710" y="370560"/>
                  </a:lnTo>
                  <a:lnTo>
                    <a:pt x="434530" y="365290"/>
                  </a:lnTo>
                  <a:lnTo>
                    <a:pt x="442772" y="355930"/>
                  </a:lnTo>
                  <a:lnTo>
                    <a:pt x="446747" y="344106"/>
                  </a:lnTo>
                  <a:close/>
                </a:path>
                <a:path w="474980" h="474980">
                  <a:moveTo>
                    <a:pt x="446747" y="130467"/>
                  </a:moveTo>
                  <a:lnTo>
                    <a:pt x="442772" y="118656"/>
                  </a:lnTo>
                  <a:lnTo>
                    <a:pt x="434530" y="109296"/>
                  </a:lnTo>
                  <a:lnTo>
                    <a:pt x="423710" y="104025"/>
                  </a:lnTo>
                  <a:lnTo>
                    <a:pt x="411695" y="103187"/>
                  </a:lnTo>
                  <a:lnTo>
                    <a:pt x="399872" y="107162"/>
                  </a:lnTo>
                  <a:lnTo>
                    <a:pt x="390525" y="115404"/>
                  </a:lnTo>
                  <a:lnTo>
                    <a:pt x="385241" y="126225"/>
                  </a:lnTo>
                  <a:lnTo>
                    <a:pt x="384403" y="138239"/>
                  </a:lnTo>
                  <a:lnTo>
                    <a:pt x="388378" y="150050"/>
                  </a:lnTo>
                  <a:lnTo>
                    <a:pt x="396633" y="159410"/>
                  </a:lnTo>
                  <a:lnTo>
                    <a:pt x="407454" y="164693"/>
                  </a:lnTo>
                  <a:lnTo>
                    <a:pt x="419455" y="165531"/>
                  </a:lnTo>
                  <a:lnTo>
                    <a:pt x="431279" y="161556"/>
                  </a:lnTo>
                  <a:lnTo>
                    <a:pt x="440639" y="153301"/>
                  </a:lnTo>
                  <a:lnTo>
                    <a:pt x="445909" y="142481"/>
                  </a:lnTo>
                  <a:lnTo>
                    <a:pt x="446747" y="130467"/>
                  </a:lnTo>
                  <a:close/>
                </a:path>
                <a:path w="474980" h="474980">
                  <a:moveTo>
                    <a:pt x="474573" y="237286"/>
                  </a:moveTo>
                  <a:lnTo>
                    <a:pt x="472109" y="225069"/>
                  </a:lnTo>
                  <a:lnTo>
                    <a:pt x="465366" y="215087"/>
                  </a:lnTo>
                  <a:lnTo>
                    <a:pt x="455383" y="208356"/>
                  </a:lnTo>
                  <a:lnTo>
                    <a:pt x="443153" y="205879"/>
                  </a:lnTo>
                  <a:lnTo>
                    <a:pt x="430936" y="208356"/>
                  </a:lnTo>
                  <a:lnTo>
                    <a:pt x="420941" y="215087"/>
                  </a:lnTo>
                  <a:lnTo>
                    <a:pt x="414210" y="225069"/>
                  </a:lnTo>
                  <a:lnTo>
                    <a:pt x="411746" y="237286"/>
                  </a:lnTo>
                  <a:lnTo>
                    <a:pt x="414210" y="249516"/>
                  </a:lnTo>
                  <a:lnTo>
                    <a:pt x="420941" y="259499"/>
                  </a:lnTo>
                  <a:lnTo>
                    <a:pt x="430936" y="266230"/>
                  </a:lnTo>
                  <a:lnTo>
                    <a:pt x="443153" y="268693"/>
                  </a:lnTo>
                  <a:lnTo>
                    <a:pt x="455383" y="266230"/>
                  </a:lnTo>
                  <a:lnTo>
                    <a:pt x="465366" y="259499"/>
                  </a:lnTo>
                  <a:lnTo>
                    <a:pt x="472109" y="249516"/>
                  </a:lnTo>
                  <a:lnTo>
                    <a:pt x="474573" y="237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82A69B8-8BA3-E9DC-7A9D-FA14853D36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14532EF3-B6F0-B76B-9CFE-47CDEDAE2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99" y="2513736"/>
            <a:ext cx="5310188" cy="1636991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3 </a:t>
            </a:r>
            <a:br>
              <a:rPr lang="en-GB" dirty="0"/>
            </a:br>
            <a:r>
              <a:rPr lang="en-GB" dirty="0"/>
              <a:t>that can break over three lines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ACB6CFB-017C-07CB-C76D-D9162BE65281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  <a:solidFill>
            <a:schemeClr val="bg1"/>
          </a:solidFill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6AA5BB6-48E5-8E32-B4AA-B288D7B7E4A2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4D478FC-C1D6-0DE6-37C6-AA33FAD9B03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8137BB38-0D85-AF41-480D-149A509D2BC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3AD72DA-E868-B4DE-E8F7-70DDC92BB2E7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BD0C1D91-FFA1-5FDB-CEB8-B0B02CFC7AA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D82E447C-7A71-9209-D595-EE57E23B3EB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7" name="object 3">
            <a:extLst>
              <a:ext uri="{FF2B5EF4-FFF2-40B4-BE49-F238E27FC236}">
                <a16:creationId xmlns:a16="http://schemas.microsoft.com/office/drawing/2014/main" id="{C5EF4511-BC4F-0983-B1FD-B1C40AF754A9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58531630-32B9-1621-E0BF-AB57475FA4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2057891"/>
            <a:ext cx="5310188" cy="310352"/>
          </a:xfrm>
        </p:spPr>
        <p:txBody>
          <a:bodyPr/>
          <a:lstStyle>
            <a:lvl1pPr>
              <a:defRPr sz="1800" b="1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9A87186C-6BB8-7F54-1DBF-FCB960A850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97917536-AC2E-04E3-8773-CE9AA4733A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623" y="4438553"/>
            <a:ext cx="4248150" cy="86302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400" spc="-8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800" spc="-40" baseline="0"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Presentation subtitle goes here over two lines if required. 24pt. 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359A8FC7-2CDE-6E8F-38AA-41659FC775F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22195" y="6226475"/>
            <a:ext cx="11327045" cy="334662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3550800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4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EC763B1-4CBB-9747-FBB3-F524D99EF5C8}"/>
              </a:ext>
            </a:extLst>
          </p:cNvPr>
          <p:cNvGrpSpPr/>
          <p:nvPr userDrawn="1"/>
        </p:nvGrpSpPr>
        <p:grpSpPr>
          <a:xfrm>
            <a:off x="143595" y="135785"/>
            <a:ext cx="1089185" cy="288028"/>
            <a:chOff x="143595" y="135785"/>
            <a:chExt cx="1089185" cy="288028"/>
          </a:xfrm>
          <a:solidFill>
            <a:schemeClr val="bg1"/>
          </a:solidFill>
        </p:grpSpPr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11BC098D-8670-1613-A0B1-8B6FCABEC146}"/>
                </a:ext>
              </a:extLst>
            </p:cNvPr>
            <p:cNvSpPr/>
            <p:nvPr userDrawn="1"/>
          </p:nvSpPr>
          <p:spPr>
            <a:xfrm>
              <a:off x="478824" y="191457"/>
              <a:ext cx="753956" cy="175204"/>
            </a:xfrm>
            <a:custGeom>
              <a:avLst/>
              <a:gdLst/>
              <a:ahLst/>
              <a:cxnLst/>
              <a:rect l="l" t="t" r="r" b="b"/>
              <a:pathLst>
                <a:path w="1243330" h="288925">
                  <a:moveTo>
                    <a:pt x="39223" y="4994"/>
                  </a:moveTo>
                  <a:lnTo>
                    <a:pt x="0" y="4994"/>
                  </a:lnTo>
                  <a:lnTo>
                    <a:pt x="0" y="170361"/>
                  </a:lnTo>
                  <a:lnTo>
                    <a:pt x="6495" y="225537"/>
                  </a:lnTo>
                  <a:lnTo>
                    <a:pt x="26582" y="262179"/>
                  </a:lnTo>
                  <a:lnTo>
                    <a:pt x="61163" y="282523"/>
                  </a:lnTo>
                  <a:lnTo>
                    <a:pt x="111137" y="288807"/>
                  </a:lnTo>
                  <a:lnTo>
                    <a:pt x="162919" y="281285"/>
                  </a:lnTo>
                  <a:lnTo>
                    <a:pt x="197719" y="258621"/>
                  </a:lnTo>
                  <a:lnTo>
                    <a:pt x="199605" y="254966"/>
                  </a:lnTo>
                  <a:lnTo>
                    <a:pt x="111137" y="254966"/>
                  </a:lnTo>
                  <a:lnTo>
                    <a:pt x="77840" y="250140"/>
                  </a:lnTo>
                  <a:lnTo>
                    <a:pt x="55571" y="235401"/>
                  </a:lnTo>
                  <a:lnTo>
                    <a:pt x="43106" y="210350"/>
                  </a:lnTo>
                  <a:lnTo>
                    <a:pt x="39223" y="174591"/>
                  </a:lnTo>
                  <a:lnTo>
                    <a:pt x="39223" y="4994"/>
                  </a:lnTo>
                  <a:close/>
                </a:path>
                <a:path w="1243330" h="288925">
                  <a:moveTo>
                    <a:pt x="223438" y="4994"/>
                  </a:moveTo>
                  <a:lnTo>
                    <a:pt x="184214" y="4994"/>
                  </a:lnTo>
                  <a:lnTo>
                    <a:pt x="184214" y="170361"/>
                  </a:lnTo>
                  <a:lnTo>
                    <a:pt x="180314" y="206781"/>
                  </a:lnTo>
                  <a:lnTo>
                    <a:pt x="167725" y="233286"/>
                  </a:lnTo>
                  <a:lnTo>
                    <a:pt x="145111" y="249479"/>
                  </a:lnTo>
                  <a:lnTo>
                    <a:pt x="111137" y="254966"/>
                  </a:lnTo>
                  <a:lnTo>
                    <a:pt x="199605" y="254966"/>
                  </a:lnTo>
                  <a:lnTo>
                    <a:pt x="217302" y="220669"/>
                  </a:lnTo>
                  <a:lnTo>
                    <a:pt x="223438" y="167282"/>
                  </a:lnTo>
                  <a:lnTo>
                    <a:pt x="223438" y="4994"/>
                  </a:lnTo>
                  <a:close/>
                </a:path>
                <a:path w="1243330" h="288925">
                  <a:moveTo>
                    <a:pt x="313037" y="4994"/>
                  </a:moveTo>
                  <a:lnTo>
                    <a:pt x="273813" y="4994"/>
                  </a:lnTo>
                  <a:lnTo>
                    <a:pt x="273813" y="283802"/>
                  </a:lnTo>
                  <a:lnTo>
                    <a:pt x="313037" y="283802"/>
                  </a:lnTo>
                  <a:lnTo>
                    <a:pt x="313037" y="196130"/>
                  </a:lnTo>
                  <a:lnTo>
                    <a:pt x="356879" y="147670"/>
                  </a:lnTo>
                  <a:lnTo>
                    <a:pt x="403714" y="147670"/>
                  </a:lnTo>
                  <a:lnTo>
                    <a:pt x="402092" y="145367"/>
                  </a:lnTo>
                  <a:lnTo>
                    <a:pt x="313037" y="145367"/>
                  </a:lnTo>
                  <a:lnTo>
                    <a:pt x="313037" y="4994"/>
                  </a:lnTo>
                  <a:close/>
                </a:path>
                <a:path w="1243330" h="288925">
                  <a:moveTo>
                    <a:pt x="403714" y="147670"/>
                  </a:moveTo>
                  <a:lnTo>
                    <a:pt x="356879" y="147670"/>
                  </a:lnTo>
                  <a:lnTo>
                    <a:pt x="452635" y="283802"/>
                  </a:lnTo>
                  <a:lnTo>
                    <a:pt x="499555" y="283802"/>
                  </a:lnTo>
                  <a:lnTo>
                    <a:pt x="403714" y="147670"/>
                  </a:lnTo>
                  <a:close/>
                </a:path>
                <a:path w="1243330" h="288925">
                  <a:moveTo>
                    <a:pt x="487639" y="4994"/>
                  </a:moveTo>
                  <a:lnTo>
                    <a:pt x="438792" y="4994"/>
                  </a:lnTo>
                  <a:lnTo>
                    <a:pt x="313037" y="145367"/>
                  </a:lnTo>
                  <a:lnTo>
                    <a:pt x="402092" y="145367"/>
                  </a:lnTo>
                  <a:lnTo>
                    <a:pt x="383412" y="118834"/>
                  </a:lnTo>
                  <a:lnTo>
                    <a:pt x="487639" y="4994"/>
                  </a:lnTo>
                  <a:close/>
                </a:path>
                <a:path w="1243330" h="288925">
                  <a:moveTo>
                    <a:pt x="630692" y="0"/>
                  </a:moveTo>
                  <a:lnTo>
                    <a:pt x="587086" y="6688"/>
                  </a:lnTo>
                  <a:lnTo>
                    <a:pt x="551180" y="25818"/>
                  </a:lnTo>
                  <a:lnTo>
                    <a:pt x="524117" y="55986"/>
                  </a:lnTo>
                  <a:lnTo>
                    <a:pt x="507040" y="95790"/>
                  </a:lnTo>
                  <a:lnTo>
                    <a:pt x="501094" y="143828"/>
                  </a:lnTo>
                  <a:lnTo>
                    <a:pt x="506546" y="191167"/>
                  </a:lnTo>
                  <a:lnTo>
                    <a:pt x="506572" y="191394"/>
                  </a:lnTo>
                  <a:lnTo>
                    <a:pt x="522590" y="231410"/>
                  </a:lnTo>
                  <a:lnTo>
                    <a:pt x="548520" y="262141"/>
                  </a:lnTo>
                  <a:lnTo>
                    <a:pt x="583737" y="281852"/>
                  </a:lnTo>
                  <a:lnTo>
                    <a:pt x="627614" y="288807"/>
                  </a:lnTo>
                  <a:lnTo>
                    <a:pt x="670222" y="282799"/>
                  </a:lnTo>
                  <a:lnTo>
                    <a:pt x="706016" y="264965"/>
                  </a:lnTo>
                  <a:lnTo>
                    <a:pt x="714428" y="255740"/>
                  </a:lnTo>
                  <a:lnTo>
                    <a:pt x="629917" y="255740"/>
                  </a:lnTo>
                  <a:lnTo>
                    <a:pt x="594136" y="248205"/>
                  </a:lnTo>
                  <a:lnTo>
                    <a:pt x="566032" y="226320"/>
                  </a:lnTo>
                  <a:lnTo>
                    <a:pt x="547781" y="191394"/>
                  </a:lnTo>
                  <a:lnTo>
                    <a:pt x="547662" y="191167"/>
                  </a:lnTo>
                  <a:lnTo>
                    <a:pt x="541083" y="143828"/>
                  </a:lnTo>
                  <a:lnTo>
                    <a:pt x="547861" y="96019"/>
                  </a:lnTo>
                  <a:lnTo>
                    <a:pt x="566465" y="61334"/>
                  </a:lnTo>
                  <a:lnTo>
                    <a:pt x="594299" y="40206"/>
                  </a:lnTo>
                  <a:lnTo>
                    <a:pt x="628766" y="33067"/>
                  </a:lnTo>
                  <a:lnTo>
                    <a:pt x="713229" y="33067"/>
                  </a:lnTo>
                  <a:lnTo>
                    <a:pt x="705776" y="24564"/>
                  </a:lnTo>
                  <a:lnTo>
                    <a:pt x="671443" y="6279"/>
                  </a:lnTo>
                  <a:lnTo>
                    <a:pt x="630692" y="0"/>
                  </a:lnTo>
                  <a:close/>
                </a:path>
                <a:path w="1243330" h="288925">
                  <a:moveTo>
                    <a:pt x="748364" y="194978"/>
                  </a:moveTo>
                  <a:lnTo>
                    <a:pt x="710292" y="194978"/>
                  </a:lnTo>
                  <a:lnTo>
                    <a:pt x="700279" y="219557"/>
                  </a:lnTo>
                  <a:lnTo>
                    <a:pt x="683522" y="238768"/>
                  </a:lnTo>
                  <a:lnTo>
                    <a:pt x="660056" y="251275"/>
                  </a:lnTo>
                  <a:lnTo>
                    <a:pt x="629917" y="255740"/>
                  </a:lnTo>
                  <a:lnTo>
                    <a:pt x="714428" y="255740"/>
                  </a:lnTo>
                  <a:lnTo>
                    <a:pt x="732797" y="235595"/>
                  </a:lnTo>
                  <a:lnTo>
                    <a:pt x="748364" y="194978"/>
                  </a:lnTo>
                  <a:close/>
                </a:path>
                <a:path w="1243330" h="288925">
                  <a:moveTo>
                    <a:pt x="713229" y="33067"/>
                  </a:moveTo>
                  <a:lnTo>
                    <a:pt x="628766" y="33067"/>
                  </a:lnTo>
                  <a:lnTo>
                    <a:pt x="658788" y="37640"/>
                  </a:lnTo>
                  <a:lnTo>
                    <a:pt x="682318" y="50325"/>
                  </a:lnTo>
                  <a:lnTo>
                    <a:pt x="699069" y="69572"/>
                  </a:lnTo>
                  <a:lnTo>
                    <a:pt x="708753" y="93829"/>
                  </a:lnTo>
                  <a:lnTo>
                    <a:pt x="746825" y="93829"/>
                  </a:lnTo>
                  <a:lnTo>
                    <a:pt x="731601" y="54024"/>
                  </a:lnTo>
                  <a:lnTo>
                    <a:pt x="713229" y="33067"/>
                  </a:lnTo>
                  <a:close/>
                </a:path>
                <a:path w="1243330" h="288925">
                  <a:moveTo>
                    <a:pt x="975268" y="4994"/>
                  </a:moveTo>
                  <a:lnTo>
                    <a:pt x="786059" y="4994"/>
                  </a:lnTo>
                  <a:lnTo>
                    <a:pt x="786059" y="283802"/>
                  </a:lnTo>
                  <a:lnTo>
                    <a:pt x="975268" y="283802"/>
                  </a:lnTo>
                  <a:lnTo>
                    <a:pt x="975268" y="249971"/>
                  </a:lnTo>
                  <a:lnTo>
                    <a:pt x="825283" y="249971"/>
                  </a:lnTo>
                  <a:lnTo>
                    <a:pt x="825283" y="157283"/>
                  </a:lnTo>
                  <a:lnTo>
                    <a:pt x="966420" y="157283"/>
                  </a:lnTo>
                  <a:lnTo>
                    <a:pt x="966420" y="123441"/>
                  </a:lnTo>
                  <a:lnTo>
                    <a:pt x="825283" y="123441"/>
                  </a:lnTo>
                  <a:lnTo>
                    <a:pt x="825283" y="38836"/>
                  </a:lnTo>
                  <a:lnTo>
                    <a:pt x="975268" y="38836"/>
                  </a:lnTo>
                  <a:lnTo>
                    <a:pt x="975268" y="4994"/>
                  </a:lnTo>
                  <a:close/>
                </a:path>
                <a:path w="1243330" h="288925">
                  <a:moveTo>
                    <a:pt x="1057171" y="4994"/>
                  </a:moveTo>
                  <a:lnTo>
                    <a:pt x="1017948" y="4994"/>
                  </a:lnTo>
                  <a:lnTo>
                    <a:pt x="1017948" y="283802"/>
                  </a:lnTo>
                  <a:lnTo>
                    <a:pt x="1057171" y="283802"/>
                  </a:lnTo>
                  <a:lnTo>
                    <a:pt x="1057171" y="157283"/>
                  </a:lnTo>
                  <a:lnTo>
                    <a:pt x="1242925" y="157283"/>
                  </a:lnTo>
                  <a:lnTo>
                    <a:pt x="1242925" y="123441"/>
                  </a:lnTo>
                  <a:lnTo>
                    <a:pt x="1057171" y="123441"/>
                  </a:lnTo>
                  <a:lnTo>
                    <a:pt x="1057171" y="4994"/>
                  </a:lnTo>
                  <a:close/>
                </a:path>
                <a:path w="1243330" h="288925">
                  <a:moveTo>
                    <a:pt x="1242925" y="157283"/>
                  </a:moveTo>
                  <a:lnTo>
                    <a:pt x="1203701" y="157283"/>
                  </a:lnTo>
                  <a:lnTo>
                    <a:pt x="1203701" y="283802"/>
                  </a:lnTo>
                  <a:lnTo>
                    <a:pt x="1242925" y="283802"/>
                  </a:lnTo>
                  <a:lnTo>
                    <a:pt x="1242925" y="157283"/>
                  </a:lnTo>
                  <a:close/>
                </a:path>
                <a:path w="1243330" h="288925">
                  <a:moveTo>
                    <a:pt x="1242925" y="4994"/>
                  </a:moveTo>
                  <a:lnTo>
                    <a:pt x="1203701" y="4994"/>
                  </a:lnTo>
                  <a:lnTo>
                    <a:pt x="1203701" y="123441"/>
                  </a:lnTo>
                  <a:lnTo>
                    <a:pt x="1242925" y="123441"/>
                  </a:lnTo>
                  <a:lnTo>
                    <a:pt x="1242925" y="4994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9">
              <a:extLst>
                <a:ext uri="{FF2B5EF4-FFF2-40B4-BE49-F238E27FC236}">
                  <a16:creationId xmlns:a16="http://schemas.microsoft.com/office/drawing/2014/main" id="{CE2579DF-0B30-705B-C8FD-25AF551B5F6A}"/>
                </a:ext>
              </a:extLst>
            </p:cNvPr>
            <p:cNvSpPr/>
            <p:nvPr userDrawn="1"/>
          </p:nvSpPr>
          <p:spPr>
            <a:xfrm>
              <a:off x="143595" y="135785"/>
              <a:ext cx="288028" cy="288028"/>
            </a:xfrm>
            <a:custGeom>
              <a:avLst/>
              <a:gdLst/>
              <a:ahLst/>
              <a:cxnLst/>
              <a:rect l="l" t="t" r="r" b="b"/>
              <a:pathLst>
                <a:path w="474980" h="474980">
                  <a:moveTo>
                    <a:pt x="62826" y="237299"/>
                  </a:moveTo>
                  <a:lnTo>
                    <a:pt x="60350" y="225069"/>
                  </a:lnTo>
                  <a:lnTo>
                    <a:pt x="53619" y="215087"/>
                  </a:lnTo>
                  <a:lnTo>
                    <a:pt x="43637" y="208356"/>
                  </a:lnTo>
                  <a:lnTo>
                    <a:pt x="31407" y="205879"/>
                  </a:lnTo>
                  <a:lnTo>
                    <a:pt x="19177" y="208356"/>
                  </a:lnTo>
                  <a:lnTo>
                    <a:pt x="9194" y="215087"/>
                  </a:lnTo>
                  <a:lnTo>
                    <a:pt x="2463" y="225069"/>
                  </a:lnTo>
                  <a:lnTo>
                    <a:pt x="0" y="237299"/>
                  </a:lnTo>
                  <a:lnTo>
                    <a:pt x="2463" y="249516"/>
                  </a:lnTo>
                  <a:lnTo>
                    <a:pt x="9194" y="259499"/>
                  </a:lnTo>
                  <a:lnTo>
                    <a:pt x="19177" y="266230"/>
                  </a:lnTo>
                  <a:lnTo>
                    <a:pt x="31407" y="268693"/>
                  </a:lnTo>
                  <a:lnTo>
                    <a:pt x="43637" y="266230"/>
                  </a:lnTo>
                  <a:lnTo>
                    <a:pt x="53619" y="259499"/>
                  </a:lnTo>
                  <a:lnTo>
                    <a:pt x="60350" y="249516"/>
                  </a:lnTo>
                  <a:lnTo>
                    <a:pt x="62826" y="237299"/>
                  </a:lnTo>
                  <a:close/>
                </a:path>
                <a:path w="474980" h="474980">
                  <a:moveTo>
                    <a:pt x="90170" y="336346"/>
                  </a:moveTo>
                  <a:lnTo>
                    <a:pt x="86194" y="324523"/>
                  </a:lnTo>
                  <a:lnTo>
                    <a:pt x="77939" y="315175"/>
                  </a:lnTo>
                  <a:lnTo>
                    <a:pt x="67119" y="309892"/>
                  </a:lnTo>
                  <a:lnTo>
                    <a:pt x="55118" y="309054"/>
                  </a:lnTo>
                  <a:lnTo>
                    <a:pt x="43294" y="313029"/>
                  </a:lnTo>
                  <a:lnTo>
                    <a:pt x="33934" y="321284"/>
                  </a:lnTo>
                  <a:lnTo>
                    <a:pt x="28651" y="332105"/>
                  </a:lnTo>
                  <a:lnTo>
                    <a:pt x="27813" y="344106"/>
                  </a:lnTo>
                  <a:lnTo>
                    <a:pt x="31788" y="355930"/>
                  </a:lnTo>
                  <a:lnTo>
                    <a:pt x="40043" y="365290"/>
                  </a:lnTo>
                  <a:lnTo>
                    <a:pt x="50863" y="370560"/>
                  </a:lnTo>
                  <a:lnTo>
                    <a:pt x="62877" y="371398"/>
                  </a:lnTo>
                  <a:lnTo>
                    <a:pt x="74701" y="367423"/>
                  </a:lnTo>
                  <a:lnTo>
                    <a:pt x="84048" y="359181"/>
                  </a:lnTo>
                  <a:lnTo>
                    <a:pt x="89331" y="348361"/>
                  </a:lnTo>
                  <a:lnTo>
                    <a:pt x="90170" y="336346"/>
                  </a:lnTo>
                  <a:close/>
                </a:path>
                <a:path w="474980" h="474980">
                  <a:moveTo>
                    <a:pt x="90170" y="138239"/>
                  </a:moveTo>
                  <a:lnTo>
                    <a:pt x="89331" y="126225"/>
                  </a:lnTo>
                  <a:lnTo>
                    <a:pt x="84048" y="115404"/>
                  </a:lnTo>
                  <a:lnTo>
                    <a:pt x="74701" y="107149"/>
                  </a:lnTo>
                  <a:lnTo>
                    <a:pt x="62877" y="103174"/>
                  </a:lnTo>
                  <a:lnTo>
                    <a:pt x="50863" y="104013"/>
                  </a:lnTo>
                  <a:lnTo>
                    <a:pt x="40043" y="109296"/>
                  </a:lnTo>
                  <a:lnTo>
                    <a:pt x="31800" y="118656"/>
                  </a:lnTo>
                  <a:lnTo>
                    <a:pt x="27813" y="130479"/>
                  </a:lnTo>
                  <a:lnTo>
                    <a:pt x="28651" y="142481"/>
                  </a:lnTo>
                  <a:lnTo>
                    <a:pt x="33934" y="153301"/>
                  </a:lnTo>
                  <a:lnTo>
                    <a:pt x="43281" y="161556"/>
                  </a:lnTo>
                  <a:lnTo>
                    <a:pt x="55105" y="165519"/>
                  </a:lnTo>
                  <a:lnTo>
                    <a:pt x="67119" y="164693"/>
                  </a:lnTo>
                  <a:lnTo>
                    <a:pt x="77939" y="159410"/>
                  </a:lnTo>
                  <a:lnTo>
                    <a:pt x="86194" y="150050"/>
                  </a:lnTo>
                  <a:lnTo>
                    <a:pt x="90170" y="138239"/>
                  </a:lnTo>
                  <a:close/>
                </a:path>
                <a:path w="474980" h="474980">
                  <a:moveTo>
                    <a:pt x="141947" y="237286"/>
                  </a:moveTo>
                  <a:lnTo>
                    <a:pt x="140106" y="228117"/>
                  </a:lnTo>
                  <a:lnTo>
                    <a:pt x="135051" y="220637"/>
                  </a:lnTo>
                  <a:lnTo>
                    <a:pt x="127571" y="215582"/>
                  </a:lnTo>
                  <a:lnTo>
                    <a:pt x="118402" y="213741"/>
                  </a:lnTo>
                  <a:lnTo>
                    <a:pt x="109232" y="215582"/>
                  </a:lnTo>
                  <a:lnTo>
                    <a:pt x="101752" y="220637"/>
                  </a:lnTo>
                  <a:lnTo>
                    <a:pt x="96697" y="228117"/>
                  </a:lnTo>
                  <a:lnTo>
                    <a:pt x="94856" y="237286"/>
                  </a:lnTo>
                  <a:lnTo>
                    <a:pt x="96697" y="246456"/>
                  </a:lnTo>
                  <a:lnTo>
                    <a:pt x="101752" y="253949"/>
                  </a:lnTo>
                  <a:lnTo>
                    <a:pt x="109232" y="258991"/>
                  </a:lnTo>
                  <a:lnTo>
                    <a:pt x="118402" y="260845"/>
                  </a:lnTo>
                  <a:lnTo>
                    <a:pt x="127571" y="258991"/>
                  </a:lnTo>
                  <a:lnTo>
                    <a:pt x="135051" y="253949"/>
                  </a:lnTo>
                  <a:lnTo>
                    <a:pt x="140106" y="246456"/>
                  </a:lnTo>
                  <a:lnTo>
                    <a:pt x="141947" y="237286"/>
                  </a:lnTo>
                  <a:close/>
                </a:path>
                <a:path w="474980" h="474980">
                  <a:moveTo>
                    <a:pt x="165519" y="419468"/>
                  </a:moveTo>
                  <a:lnTo>
                    <a:pt x="164680" y="407454"/>
                  </a:lnTo>
                  <a:lnTo>
                    <a:pt x="159397" y="396633"/>
                  </a:lnTo>
                  <a:lnTo>
                    <a:pt x="150050" y="388378"/>
                  </a:lnTo>
                  <a:lnTo>
                    <a:pt x="138226" y="384403"/>
                  </a:lnTo>
                  <a:lnTo>
                    <a:pt x="126212" y="385241"/>
                  </a:lnTo>
                  <a:lnTo>
                    <a:pt x="115392" y="390525"/>
                  </a:lnTo>
                  <a:lnTo>
                    <a:pt x="107149" y="399884"/>
                  </a:lnTo>
                  <a:lnTo>
                    <a:pt x="103174" y="411708"/>
                  </a:lnTo>
                  <a:lnTo>
                    <a:pt x="104013" y="423710"/>
                  </a:lnTo>
                  <a:lnTo>
                    <a:pt x="109296" y="434530"/>
                  </a:lnTo>
                  <a:lnTo>
                    <a:pt x="118643" y="442785"/>
                  </a:lnTo>
                  <a:lnTo>
                    <a:pt x="130467" y="446760"/>
                  </a:lnTo>
                  <a:lnTo>
                    <a:pt x="142481" y="445922"/>
                  </a:lnTo>
                  <a:lnTo>
                    <a:pt x="153301" y="440639"/>
                  </a:lnTo>
                  <a:lnTo>
                    <a:pt x="161544" y="431292"/>
                  </a:lnTo>
                  <a:lnTo>
                    <a:pt x="165519" y="419468"/>
                  </a:lnTo>
                  <a:close/>
                </a:path>
                <a:path w="474980" h="474980">
                  <a:moveTo>
                    <a:pt x="165519" y="55118"/>
                  </a:moveTo>
                  <a:lnTo>
                    <a:pt x="161544" y="43294"/>
                  </a:lnTo>
                  <a:lnTo>
                    <a:pt x="153301" y="33947"/>
                  </a:lnTo>
                  <a:lnTo>
                    <a:pt x="142481" y="28663"/>
                  </a:lnTo>
                  <a:lnTo>
                    <a:pt x="130467" y="27825"/>
                  </a:lnTo>
                  <a:lnTo>
                    <a:pt x="118643" y="31800"/>
                  </a:lnTo>
                  <a:lnTo>
                    <a:pt x="109296" y="40043"/>
                  </a:lnTo>
                  <a:lnTo>
                    <a:pt x="104013" y="50876"/>
                  </a:lnTo>
                  <a:lnTo>
                    <a:pt x="103174" y="62890"/>
                  </a:lnTo>
                  <a:lnTo>
                    <a:pt x="107149" y="74714"/>
                  </a:lnTo>
                  <a:lnTo>
                    <a:pt x="115404" y="84061"/>
                  </a:lnTo>
                  <a:lnTo>
                    <a:pt x="126212" y="89331"/>
                  </a:lnTo>
                  <a:lnTo>
                    <a:pt x="138226" y="90170"/>
                  </a:lnTo>
                  <a:lnTo>
                    <a:pt x="150050" y="86194"/>
                  </a:lnTo>
                  <a:lnTo>
                    <a:pt x="159410" y="77952"/>
                  </a:lnTo>
                  <a:lnTo>
                    <a:pt x="164680" y="67132"/>
                  </a:lnTo>
                  <a:lnTo>
                    <a:pt x="165519" y="55118"/>
                  </a:lnTo>
                  <a:close/>
                </a:path>
                <a:path w="474980" h="474980">
                  <a:moveTo>
                    <a:pt x="176771" y="321348"/>
                  </a:moveTo>
                  <a:lnTo>
                    <a:pt x="175056" y="312483"/>
                  </a:lnTo>
                  <a:lnTo>
                    <a:pt x="169875" y="304698"/>
                  </a:lnTo>
                  <a:lnTo>
                    <a:pt x="162077" y="299529"/>
                  </a:lnTo>
                  <a:lnTo>
                    <a:pt x="153225" y="297802"/>
                  </a:lnTo>
                  <a:lnTo>
                    <a:pt x="144360" y="299529"/>
                  </a:lnTo>
                  <a:lnTo>
                    <a:pt x="136563" y="304698"/>
                  </a:lnTo>
                  <a:lnTo>
                    <a:pt x="131394" y="312483"/>
                  </a:lnTo>
                  <a:lnTo>
                    <a:pt x="129667" y="321348"/>
                  </a:lnTo>
                  <a:lnTo>
                    <a:pt x="131394" y="330212"/>
                  </a:lnTo>
                  <a:lnTo>
                    <a:pt x="136563" y="338010"/>
                  </a:lnTo>
                  <a:lnTo>
                    <a:pt x="144360" y="343179"/>
                  </a:lnTo>
                  <a:lnTo>
                    <a:pt x="153225" y="344906"/>
                  </a:lnTo>
                  <a:lnTo>
                    <a:pt x="162077" y="343179"/>
                  </a:lnTo>
                  <a:lnTo>
                    <a:pt x="169875" y="338010"/>
                  </a:lnTo>
                  <a:lnTo>
                    <a:pt x="175056" y="330212"/>
                  </a:lnTo>
                  <a:lnTo>
                    <a:pt x="176771" y="321348"/>
                  </a:lnTo>
                  <a:close/>
                </a:path>
                <a:path w="474980" h="474980">
                  <a:moveTo>
                    <a:pt x="176784" y="153225"/>
                  </a:moveTo>
                  <a:lnTo>
                    <a:pt x="175056" y="144360"/>
                  </a:lnTo>
                  <a:lnTo>
                    <a:pt x="169875" y="136575"/>
                  </a:lnTo>
                  <a:lnTo>
                    <a:pt x="162090" y="131394"/>
                  </a:lnTo>
                  <a:lnTo>
                    <a:pt x="153225" y="129679"/>
                  </a:lnTo>
                  <a:lnTo>
                    <a:pt x="144360" y="131394"/>
                  </a:lnTo>
                  <a:lnTo>
                    <a:pt x="136575" y="136575"/>
                  </a:lnTo>
                  <a:lnTo>
                    <a:pt x="131394" y="144360"/>
                  </a:lnTo>
                  <a:lnTo>
                    <a:pt x="129667" y="153225"/>
                  </a:lnTo>
                  <a:lnTo>
                    <a:pt x="131394" y="162090"/>
                  </a:lnTo>
                  <a:lnTo>
                    <a:pt x="136575" y="169875"/>
                  </a:lnTo>
                  <a:lnTo>
                    <a:pt x="144360" y="175056"/>
                  </a:lnTo>
                  <a:lnTo>
                    <a:pt x="153225" y="176784"/>
                  </a:lnTo>
                  <a:lnTo>
                    <a:pt x="162090" y="175056"/>
                  </a:lnTo>
                  <a:lnTo>
                    <a:pt x="169875" y="169875"/>
                  </a:lnTo>
                  <a:lnTo>
                    <a:pt x="175056" y="162090"/>
                  </a:lnTo>
                  <a:lnTo>
                    <a:pt x="176784" y="153225"/>
                  </a:lnTo>
                  <a:close/>
                </a:path>
                <a:path w="474980" h="474980">
                  <a:moveTo>
                    <a:pt x="209016" y="261874"/>
                  </a:moveTo>
                  <a:lnTo>
                    <a:pt x="201853" y="249478"/>
                  </a:lnTo>
                  <a:lnTo>
                    <a:pt x="193941" y="247357"/>
                  </a:lnTo>
                  <a:lnTo>
                    <a:pt x="187744" y="250939"/>
                  </a:lnTo>
                  <a:lnTo>
                    <a:pt x="181546" y="254520"/>
                  </a:lnTo>
                  <a:lnTo>
                    <a:pt x="179412" y="262432"/>
                  </a:lnTo>
                  <a:lnTo>
                    <a:pt x="186575" y="274828"/>
                  </a:lnTo>
                  <a:lnTo>
                    <a:pt x="194500" y="276961"/>
                  </a:lnTo>
                  <a:lnTo>
                    <a:pt x="206895" y="269798"/>
                  </a:lnTo>
                  <a:lnTo>
                    <a:pt x="209016" y="261874"/>
                  </a:lnTo>
                  <a:close/>
                </a:path>
                <a:path w="474980" h="474980">
                  <a:moveTo>
                    <a:pt x="209016" y="212699"/>
                  </a:moveTo>
                  <a:lnTo>
                    <a:pt x="206895" y="204787"/>
                  </a:lnTo>
                  <a:lnTo>
                    <a:pt x="200698" y="201206"/>
                  </a:lnTo>
                  <a:lnTo>
                    <a:pt x="194500" y="197624"/>
                  </a:lnTo>
                  <a:lnTo>
                    <a:pt x="186575" y="199745"/>
                  </a:lnTo>
                  <a:lnTo>
                    <a:pt x="179425" y="212153"/>
                  </a:lnTo>
                  <a:lnTo>
                    <a:pt x="181546" y="220078"/>
                  </a:lnTo>
                  <a:lnTo>
                    <a:pt x="193941" y="227228"/>
                  </a:lnTo>
                  <a:lnTo>
                    <a:pt x="201853" y="225107"/>
                  </a:lnTo>
                  <a:lnTo>
                    <a:pt x="209016" y="212699"/>
                  </a:lnTo>
                  <a:close/>
                </a:path>
                <a:path w="474980" h="474980">
                  <a:moveTo>
                    <a:pt x="250240" y="279869"/>
                  </a:moveTo>
                  <a:lnTo>
                    <a:pt x="244449" y="274066"/>
                  </a:lnTo>
                  <a:lnTo>
                    <a:pt x="230136" y="274066"/>
                  </a:lnTo>
                  <a:lnTo>
                    <a:pt x="224332" y="279869"/>
                  </a:lnTo>
                  <a:lnTo>
                    <a:pt x="224332" y="287020"/>
                  </a:lnTo>
                  <a:lnTo>
                    <a:pt x="224332" y="294170"/>
                  </a:lnTo>
                  <a:lnTo>
                    <a:pt x="230136" y="299974"/>
                  </a:lnTo>
                  <a:lnTo>
                    <a:pt x="244449" y="299974"/>
                  </a:lnTo>
                  <a:lnTo>
                    <a:pt x="250240" y="294170"/>
                  </a:lnTo>
                  <a:lnTo>
                    <a:pt x="250240" y="279869"/>
                  </a:lnTo>
                  <a:close/>
                </a:path>
                <a:path w="474980" h="474980">
                  <a:moveTo>
                    <a:pt x="250240" y="180416"/>
                  </a:moveTo>
                  <a:lnTo>
                    <a:pt x="244436" y="174612"/>
                  </a:lnTo>
                  <a:lnTo>
                    <a:pt x="230124" y="174612"/>
                  </a:lnTo>
                  <a:lnTo>
                    <a:pt x="224332" y="180416"/>
                  </a:lnTo>
                  <a:lnTo>
                    <a:pt x="224332" y="194716"/>
                  </a:lnTo>
                  <a:lnTo>
                    <a:pt x="230124" y="200520"/>
                  </a:lnTo>
                  <a:lnTo>
                    <a:pt x="244436" y="200520"/>
                  </a:lnTo>
                  <a:lnTo>
                    <a:pt x="250240" y="194716"/>
                  </a:lnTo>
                  <a:lnTo>
                    <a:pt x="250240" y="187566"/>
                  </a:lnTo>
                  <a:lnTo>
                    <a:pt x="250240" y="180416"/>
                  </a:lnTo>
                  <a:close/>
                </a:path>
                <a:path w="474980" h="474980">
                  <a:moveTo>
                    <a:pt x="260832" y="356171"/>
                  </a:moveTo>
                  <a:lnTo>
                    <a:pt x="258991" y="347002"/>
                  </a:lnTo>
                  <a:lnTo>
                    <a:pt x="253936" y="339521"/>
                  </a:lnTo>
                  <a:lnTo>
                    <a:pt x="246456" y="334479"/>
                  </a:lnTo>
                  <a:lnTo>
                    <a:pt x="237274" y="332625"/>
                  </a:lnTo>
                  <a:lnTo>
                    <a:pt x="228117" y="334479"/>
                  </a:lnTo>
                  <a:lnTo>
                    <a:pt x="220624" y="339521"/>
                  </a:lnTo>
                  <a:lnTo>
                    <a:pt x="215582" y="347002"/>
                  </a:lnTo>
                  <a:lnTo>
                    <a:pt x="213728" y="356171"/>
                  </a:lnTo>
                  <a:lnTo>
                    <a:pt x="215582" y="365340"/>
                  </a:lnTo>
                  <a:lnTo>
                    <a:pt x="220624" y="372833"/>
                  </a:lnTo>
                  <a:lnTo>
                    <a:pt x="228117" y="377875"/>
                  </a:lnTo>
                  <a:lnTo>
                    <a:pt x="237274" y="379717"/>
                  </a:lnTo>
                  <a:lnTo>
                    <a:pt x="246456" y="377875"/>
                  </a:lnTo>
                  <a:lnTo>
                    <a:pt x="253936" y="372833"/>
                  </a:lnTo>
                  <a:lnTo>
                    <a:pt x="258991" y="365340"/>
                  </a:lnTo>
                  <a:lnTo>
                    <a:pt x="260832" y="356171"/>
                  </a:lnTo>
                  <a:close/>
                </a:path>
                <a:path w="474980" h="474980">
                  <a:moveTo>
                    <a:pt x="260845" y="118402"/>
                  </a:moveTo>
                  <a:lnTo>
                    <a:pt x="258991" y="109245"/>
                  </a:lnTo>
                  <a:lnTo>
                    <a:pt x="253936" y="101752"/>
                  </a:lnTo>
                  <a:lnTo>
                    <a:pt x="246456" y="96710"/>
                  </a:lnTo>
                  <a:lnTo>
                    <a:pt x="237286" y="94856"/>
                  </a:lnTo>
                  <a:lnTo>
                    <a:pt x="228117" y="96710"/>
                  </a:lnTo>
                  <a:lnTo>
                    <a:pt x="220637" y="101752"/>
                  </a:lnTo>
                  <a:lnTo>
                    <a:pt x="215582" y="109245"/>
                  </a:lnTo>
                  <a:lnTo>
                    <a:pt x="213728" y="118402"/>
                  </a:lnTo>
                  <a:lnTo>
                    <a:pt x="215582" y="127584"/>
                  </a:lnTo>
                  <a:lnTo>
                    <a:pt x="220637" y="135064"/>
                  </a:lnTo>
                  <a:lnTo>
                    <a:pt x="228117" y="140119"/>
                  </a:lnTo>
                  <a:lnTo>
                    <a:pt x="237286" y="141960"/>
                  </a:lnTo>
                  <a:lnTo>
                    <a:pt x="246456" y="140119"/>
                  </a:lnTo>
                  <a:lnTo>
                    <a:pt x="253936" y="135064"/>
                  </a:lnTo>
                  <a:lnTo>
                    <a:pt x="258991" y="127584"/>
                  </a:lnTo>
                  <a:lnTo>
                    <a:pt x="260845" y="118402"/>
                  </a:lnTo>
                  <a:close/>
                </a:path>
                <a:path w="474980" h="474980">
                  <a:moveTo>
                    <a:pt x="268693" y="443166"/>
                  </a:moveTo>
                  <a:lnTo>
                    <a:pt x="266230" y="430936"/>
                  </a:lnTo>
                  <a:lnTo>
                    <a:pt x="259499" y="420954"/>
                  </a:lnTo>
                  <a:lnTo>
                    <a:pt x="249516" y="414223"/>
                  </a:lnTo>
                  <a:lnTo>
                    <a:pt x="237286" y="411746"/>
                  </a:lnTo>
                  <a:lnTo>
                    <a:pt x="225069" y="414223"/>
                  </a:lnTo>
                  <a:lnTo>
                    <a:pt x="215074" y="420954"/>
                  </a:lnTo>
                  <a:lnTo>
                    <a:pt x="208343" y="430936"/>
                  </a:lnTo>
                  <a:lnTo>
                    <a:pt x="205879" y="443166"/>
                  </a:lnTo>
                  <a:lnTo>
                    <a:pt x="208343" y="455396"/>
                  </a:lnTo>
                  <a:lnTo>
                    <a:pt x="215074" y="465378"/>
                  </a:lnTo>
                  <a:lnTo>
                    <a:pt x="225069" y="472109"/>
                  </a:lnTo>
                  <a:lnTo>
                    <a:pt x="237286" y="474573"/>
                  </a:lnTo>
                  <a:lnTo>
                    <a:pt x="249516" y="472109"/>
                  </a:lnTo>
                  <a:lnTo>
                    <a:pt x="259499" y="465378"/>
                  </a:lnTo>
                  <a:lnTo>
                    <a:pt x="266230" y="455396"/>
                  </a:lnTo>
                  <a:lnTo>
                    <a:pt x="268693" y="443166"/>
                  </a:lnTo>
                  <a:close/>
                </a:path>
                <a:path w="474980" h="474980">
                  <a:moveTo>
                    <a:pt x="268693" y="31419"/>
                  </a:moveTo>
                  <a:lnTo>
                    <a:pt x="266230" y="19189"/>
                  </a:lnTo>
                  <a:lnTo>
                    <a:pt x="259486" y="9207"/>
                  </a:lnTo>
                  <a:lnTo>
                    <a:pt x="249504" y="2476"/>
                  </a:lnTo>
                  <a:lnTo>
                    <a:pt x="237274" y="0"/>
                  </a:lnTo>
                  <a:lnTo>
                    <a:pt x="225056" y="2476"/>
                  </a:lnTo>
                  <a:lnTo>
                    <a:pt x="215074" y="9207"/>
                  </a:lnTo>
                  <a:lnTo>
                    <a:pt x="208343" y="19189"/>
                  </a:lnTo>
                  <a:lnTo>
                    <a:pt x="205879" y="31419"/>
                  </a:lnTo>
                  <a:lnTo>
                    <a:pt x="208343" y="43649"/>
                  </a:lnTo>
                  <a:lnTo>
                    <a:pt x="215074" y="53632"/>
                  </a:lnTo>
                  <a:lnTo>
                    <a:pt x="225056" y="60363"/>
                  </a:lnTo>
                  <a:lnTo>
                    <a:pt x="237274" y="62826"/>
                  </a:lnTo>
                  <a:lnTo>
                    <a:pt x="249504" y="60363"/>
                  </a:lnTo>
                  <a:lnTo>
                    <a:pt x="259486" y="53632"/>
                  </a:lnTo>
                  <a:lnTo>
                    <a:pt x="266230" y="43649"/>
                  </a:lnTo>
                  <a:lnTo>
                    <a:pt x="268693" y="31419"/>
                  </a:lnTo>
                  <a:close/>
                </a:path>
                <a:path w="474980" h="474980">
                  <a:moveTo>
                    <a:pt x="295148" y="262432"/>
                  </a:moveTo>
                  <a:lnTo>
                    <a:pt x="293027" y="254508"/>
                  </a:lnTo>
                  <a:lnTo>
                    <a:pt x="280631" y="247357"/>
                  </a:lnTo>
                  <a:lnTo>
                    <a:pt x="272707" y="249478"/>
                  </a:lnTo>
                  <a:lnTo>
                    <a:pt x="265544" y="261874"/>
                  </a:lnTo>
                  <a:lnTo>
                    <a:pt x="267677" y="269798"/>
                  </a:lnTo>
                  <a:lnTo>
                    <a:pt x="273875" y="273380"/>
                  </a:lnTo>
                  <a:lnTo>
                    <a:pt x="280073" y="276961"/>
                  </a:lnTo>
                  <a:lnTo>
                    <a:pt x="287985" y="274828"/>
                  </a:lnTo>
                  <a:lnTo>
                    <a:pt x="295148" y="262432"/>
                  </a:lnTo>
                  <a:close/>
                </a:path>
                <a:path w="474980" h="474980">
                  <a:moveTo>
                    <a:pt x="295148" y="212153"/>
                  </a:moveTo>
                  <a:lnTo>
                    <a:pt x="287985" y="199758"/>
                  </a:lnTo>
                  <a:lnTo>
                    <a:pt x="280073" y="197624"/>
                  </a:lnTo>
                  <a:lnTo>
                    <a:pt x="267677" y="204774"/>
                  </a:lnTo>
                  <a:lnTo>
                    <a:pt x="265557" y="212699"/>
                  </a:lnTo>
                  <a:lnTo>
                    <a:pt x="272707" y="225107"/>
                  </a:lnTo>
                  <a:lnTo>
                    <a:pt x="280631" y="227228"/>
                  </a:lnTo>
                  <a:lnTo>
                    <a:pt x="286829" y="223647"/>
                  </a:lnTo>
                  <a:lnTo>
                    <a:pt x="293027" y="220065"/>
                  </a:lnTo>
                  <a:lnTo>
                    <a:pt x="295148" y="212153"/>
                  </a:lnTo>
                  <a:close/>
                </a:path>
                <a:path w="474980" h="474980">
                  <a:moveTo>
                    <a:pt x="344893" y="153225"/>
                  </a:moveTo>
                  <a:lnTo>
                    <a:pt x="343179" y="144360"/>
                  </a:lnTo>
                  <a:lnTo>
                    <a:pt x="338010" y="136575"/>
                  </a:lnTo>
                  <a:lnTo>
                    <a:pt x="330212" y="131394"/>
                  </a:lnTo>
                  <a:lnTo>
                    <a:pt x="321348" y="129667"/>
                  </a:lnTo>
                  <a:lnTo>
                    <a:pt x="312483" y="131394"/>
                  </a:lnTo>
                  <a:lnTo>
                    <a:pt x="304698" y="136575"/>
                  </a:lnTo>
                  <a:lnTo>
                    <a:pt x="299516" y="144360"/>
                  </a:lnTo>
                  <a:lnTo>
                    <a:pt x="297789" y="153225"/>
                  </a:lnTo>
                  <a:lnTo>
                    <a:pt x="299516" y="162090"/>
                  </a:lnTo>
                  <a:lnTo>
                    <a:pt x="304698" y="169887"/>
                  </a:lnTo>
                  <a:lnTo>
                    <a:pt x="312483" y="175056"/>
                  </a:lnTo>
                  <a:lnTo>
                    <a:pt x="321348" y="176784"/>
                  </a:lnTo>
                  <a:lnTo>
                    <a:pt x="330212" y="175056"/>
                  </a:lnTo>
                  <a:lnTo>
                    <a:pt x="338010" y="169887"/>
                  </a:lnTo>
                  <a:lnTo>
                    <a:pt x="343179" y="162090"/>
                  </a:lnTo>
                  <a:lnTo>
                    <a:pt x="344893" y="153225"/>
                  </a:lnTo>
                  <a:close/>
                </a:path>
                <a:path w="474980" h="474980">
                  <a:moveTo>
                    <a:pt x="344906" y="321348"/>
                  </a:moveTo>
                  <a:lnTo>
                    <a:pt x="343179" y="312496"/>
                  </a:lnTo>
                  <a:lnTo>
                    <a:pt x="337997" y="304698"/>
                  </a:lnTo>
                  <a:lnTo>
                    <a:pt x="330212" y="299529"/>
                  </a:lnTo>
                  <a:lnTo>
                    <a:pt x="321348" y="297802"/>
                  </a:lnTo>
                  <a:lnTo>
                    <a:pt x="312483" y="299529"/>
                  </a:lnTo>
                  <a:lnTo>
                    <a:pt x="304698" y="304698"/>
                  </a:lnTo>
                  <a:lnTo>
                    <a:pt x="299516" y="312496"/>
                  </a:lnTo>
                  <a:lnTo>
                    <a:pt x="297802" y="321348"/>
                  </a:lnTo>
                  <a:lnTo>
                    <a:pt x="299516" y="330212"/>
                  </a:lnTo>
                  <a:lnTo>
                    <a:pt x="304698" y="338010"/>
                  </a:lnTo>
                  <a:lnTo>
                    <a:pt x="312483" y="343179"/>
                  </a:lnTo>
                  <a:lnTo>
                    <a:pt x="321348" y="344906"/>
                  </a:lnTo>
                  <a:lnTo>
                    <a:pt x="330212" y="343179"/>
                  </a:lnTo>
                  <a:lnTo>
                    <a:pt x="337997" y="338010"/>
                  </a:lnTo>
                  <a:lnTo>
                    <a:pt x="343179" y="330212"/>
                  </a:lnTo>
                  <a:lnTo>
                    <a:pt x="344906" y="321348"/>
                  </a:lnTo>
                  <a:close/>
                </a:path>
                <a:path w="474980" h="474980">
                  <a:moveTo>
                    <a:pt x="371398" y="411695"/>
                  </a:moveTo>
                  <a:lnTo>
                    <a:pt x="367423" y="399872"/>
                  </a:lnTo>
                  <a:lnTo>
                    <a:pt x="359168" y="390525"/>
                  </a:lnTo>
                  <a:lnTo>
                    <a:pt x="348348" y="385241"/>
                  </a:lnTo>
                  <a:lnTo>
                    <a:pt x="336346" y="384403"/>
                  </a:lnTo>
                  <a:lnTo>
                    <a:pt x="324523" y="388391"/>
                  </a:lnTo>
                  <a:lnTo>
                    <a:pt x="315163" y="396633"/>
                  </a:lnTo>
                  <a:lnTo>
                    <a:pt x="309880" y="407454"/>
                  </a:lnTo>
                  <a:lnTo>
                    <a:pt x="309054" y="419468"/>
                  </a:lnTo>
                  <a:lnTo>
                    <a:pt x="313016" y="431292"/>
                  </a:lnTo>
                  <a:lnTo>
                    <a:pt x="321271" y="440639"/>
                  </a:lnTo>
                  <a:lnTo>
                    <a:pt x="332092" y="445922"/>
                  </a:lnTo>
                  <a:lnTo>
                    <a:pt x="344106" y="446760"/>
                  </a:lnTo>
                  <a:lnTo>
                    <a:pt x="355917" y="442785"/>
                  </a:lnTo>
                  <a:lnTo>
                    <a:pt x="365277" y="434530"/>
                  </a:lnTo>
                  <a:lnTo>
                    <a:pt x="370560" y="423710"/>
                  </a:lnTo>
                  <a:lnTo>
                    <a:pt x="371398" y="411695"/>
                  </a:lnTo>
                  <a:close/>
                </a:path>
                <a:path w="474980" h="474980">
                  <a:moveTo>
                    <a:pt x="371398" y="62877"/>
                  </a:moveTo>
                  <a:lnTo>
                    <a:pt x="370560" y="50863"/>
                  </a:lnTo>
                  <a:lnTo>
                    <a:pt x="365277" y="40055"/>
                  </a:lnTo>
                  <a:lnTo>
                    <a:pt x="355930" y="31800"/>
                  </a:lnTo>
                  <a:lnTo>
                    <a:pt x="344106" y="27825"/>
                  </a:lnTo>
                  <a:lnTo>
                    <a:pt x="332092" y="28663"/>
                  </a:lnTo>
                  <a:lnTo>
                    <a:pt x="321271" y="33934"/>
                  </a:lnTo>
                  <a:lnTo>
                    <a:pt x="313029" y="43294"/>
                  </a:lnTo>
                  <a:lnTo>
                    <a:pt x="309054" y="55118"/>
                  </a:lnTo>
                  <a:lnTo>
                    <a:pt x="309892" y="67132"/>
                  </a:lnTo>
                  <a:lnTo>
                    <a:pt x="315163" y="77952"/>
                  </a:lnTo>
                  <a:lnTo>
                    <a:pt x="324523" y="86194"/>
                  </a:lnTo>
                  <a:lnTo>
                    <a:pt x="336346" y="90170"/>
                  </a:lnTo>
                  <a:lnTo>
                    <a:pt x="348348" y="89331"/>
                  </a:lnTo>
                  <a:lnTo>
                    <a:pt x="359168" y="84061"/>
                  </a:lnTo>
                  <a:lnTo>
                    <a:pt x="367423" y="74701"/>
                  </a:lnTo>
                  <a:lnTo>
                    <a:pt x="371398" y="62877"/>
                  </a:lnTo>
                  <a:close/>
                </a:path>
                <a:path w="474980" h="474980">
                  <a:moveTo>
                    <a:pt x="379717" y="237286"/>
                  </a:moveTo>
                  <a:lnTo>
                    <a:pt x="377863" y="228117"/>
                  </a:lnTo>
                  <a:lnTo>
                    <a:pt x="372821" y="220637"/>
                  </a:lnTo>
                  <a:lnTo>
                    <a:pt x="365340" y="215582"/>
                  </a:lnTo>
                  <a:lnTo>
                    <a:pt x="356171" y="213741"/>
                  </a:lnTo>
                  <a:lnTo>
                    <a:pt x="347002" y="215582"/>
                  </a:lnTo>
                  <a:lnTo>
                    <a:pt x="339509" y="220637"/>
                  </a:lnTo>
                  <a:lnTo>
                    <a:pt x="334467" y="228117"/>
                  </a:lnTo>
                  <a:lnTo>
                    <a:pt x="332625" y="237286"/>
                  </a:lnTo>
                  <a:lnTo>
                    <a:pt x="334467" y="246456"/>
                  </a:lnTo>
                  <a:lnTo>
                    <a:pt x="339509" y="253949"/>
                  </a:lnTo>
                  <a:lnTo>
                    <a:pt x="347002" y="258991"/>
                  </a:lnTo>
                  <a:lnTo>
                    <a:pt x="356171" y="260845"/>
                  </a:lnTo>
                  <a:lnTo>
                    <a:pt x="365340" y="258991"/>
                  </a:lnTo>
                  <a:lnTo>
                    <a:pt x="372821" y="253949"/>
                  </a:lnTo>
                  <a:lnTo>
                    <a:pt x="377863" y="246456"/>
                  </a:lnTo>
                  <a:lnTo>
                    <a:pt x="379717" y="237286"/>
                  </a:lnTo>
                  <a:close/>
                </a:path>
                <a:path w="474980" h="474980">
                  <a:moveTo>
                    <a:pt x="446747" y="344106"/>
                  </a:moveTo>
                  <a:lnTo>
                    <a:pt x="445909" y="332092"/>
                  </a:lnTo>
                  <a:lnTo>
                    <a:pt x="440639" y="321284"/>
                  </a:lnTo>
                  <a:lnTo>
                    <a:pt x="431292" y="313029"/>
                  </a:lnTo>
                  <a:lnTo>
                    <a:pt x="419468" y="309054"/>
                  </a:lnTo>
                  <a:lnTo>
                    <a:pt x="407454" y="309892"/>
                  </a:lnTo>
                  <a:lnTo>
                    <a:pt x="396621" y="315175"/>
                  </a:lnTo>
                  <a:lnTo>
                    <a:pt x="388378" y="324523"/>
                  </a:lnTo>
                  <a:lnTo>
                    <a:pt x="384403" y="336346"/>
                  </a:lnTo>
                  <a:lnTo>
                    <a:pt x="385241" y="348361"/>
                  </a:lnTo>
                  <a:lnTo>
                    <a:pt x="390525" y="359181"/>
                  </a:lnTo>
                  <a:lnTo>
                    <a:pt x="399872" y="367423"/>
                  </a:lnTo>
                  <a:lnTo>
                    <a:pt x="411695" y="371398"/>
                  </a:lnTo>
                  <a:lnTo>
                    <a:pt x="423710" y="370560"/>
                  </a:lnTo>
                  <a:lnTo>
                    <a:pt x="434530" y="365290"/>
                  </a:lnTo>
                  <a:lnTo>
                    <a:pt x="442772" y="355930"/>
                  </a:lnTo>
                  <a:lnTo>
                    <a:pt x="446747" y="344106"/>
                  </a:lnTo>
                  <a:close/>
                </a:path>
                <a:path w="474980" h="474980">
                  <a:moveTo>
                    <a:pt x="446747" y="130467"/>
                  </a:moveTo>
                  <a:lnTo>
                    <a:pt x="442772" y="118656"/>
                  </a:lnTo>
                  <a:lnTo>
                    <a:pt x="434530" y="109296"/>
                  </a:lnTo>
                  <a:lnTo>
                    <a:pt x="423710" y="104025"/>
                  </a:lnTo>
                  <a:lnTo>
                    <a:pt x="411695" y="103187"/>
                  </a:lnTo>
                  <a:lnTo>
                    <a:pt x="399872" y="107162"/>
                  </a:lnTo>
                  <a:lnTo>
                    <a:pt x="390525" y="115404"/>
                  </a:lnTo>
                  <a:lnTo>
                    <a:pt x="385241" y="126225"/>
                  </a:lnTo>
                  <a:lnTo>
                    <a:pt x="384403" y="138239"/>
                  </a:lnTo>
                  <a:lnTo>
                    <a:pt x="388378" y="150050"/>
                  </a:lnTo>
                  <a:lnTo>
                    <a:pt x="396633" y="159410"/>
                  </a:lnTo>
                  <a:lnTo>
                    <a:pt x="407454" y="164693"/>
                  </a:lnTo>
                  <a:lnTo>
                    <a:pt x="419455" y="165531"/>
                  </a:lnTo>
                  <a:lnTo>
                    <a:pt x="431279" y="161556"/>
                  </a:lnTo>
                  <a:lnTo>
                    <a:pt x="440639" y="153301"/>
                  </a:lnTo>
                  <a:lnTo>
                    <a:pt x="445909" y="142481"/>
                  </a:lnTo>
                  <a:lnTo>
                    <a:pt x="446747" y="130467"/>
                  </a:lnTo>
                  <a:close/>
                </a:path>
                <a:path w="474980" h="474980">
                  <a:moveTo>
                    <a:pt x="474573" y="237286"/>
                  </a:moveTo>
                  <a:lnTo>
                    <a:pt x="472109" y="225069"/>
                  </a:lnTo>
                  <a:lnTo>
                    <a:pt x="465366" y="215087"/>
                  </a:lnTo>
                  <a:lnTo>
                    <a:pt x="455383" y="208356"/>
                  </a:lnTo>
                  <a:lnTo>
                    <a:pt x="443153" y="205879"/>
                  </a:lnTo>
                  <a:lnTo>
                    <a:pt x="430936" y="208356"/>
                  </a:lnTo>
                  <a:lnTo>
                    <a:pt x="420941" y="215087"/>
                  </a:lnTo>
                  <a:lnTo>
                    <a:pt x="414210" y="225069"/>
                  </a:lnTo>
                  <a:lnTo>
                    <a:pt x="411746" y="237286"/>
                  </a:lnTo>
                  <a:lnTo>
                    <a:pt x="414210" y="249516"/>
                  </a:lnTo>
                  <a:lnTo>
                    <a:pt x="420941" y="259499"/>
                  </a:lnTo>
                  <a:lnTo>
                    <a:pt x="430936" y="266230"/>
                  </a:lnTo>
                  <a:lnTo>
                    <a:pt x="443153" y="268693"/>
                  </a:lnTo>
                  <a:lnTo>
                    <a:pt x="455383" y="266230"/>
                  </a:lnTo>
                  <a:lnTo>
                    <a:pt x="465366" y="259499"/>
                  </a:lnTo>
                  <a:lnTo>
                    <a:pt x="472109" y="249516"/>
                  </a:lnTo>
                  <a:lnTo>
                    <a:pt x="474573" y="237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82A69B8-8BA3-E9DC-7A9D-FA14853D36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14532EF3-B6F0-B76B-9CFE-47CDEDAE2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99" y="1430340"/>
            <a:ext cx="5310188" cy="2720388"/>
          </a:xfrm>
        </p:spPr>
        <p:txBody>
          <a:bodyPr/>
          <a:lstStyle>
            <a:lvl1pPr>
              <a:defRPr sz="4800" spc="-17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3 </a:t>
            </a:r>
            <a:br>
              <a:rPr lang="en-GB" dirty="0"/>
            </a:br>
            <a:r>
              <a:rPr lang="en-GB" dirty="0"/>
              <a:t>that can break over three lines if required</a:t>
            </a:r>
            <a:br>
              <a:rPr lang="en-GB" dirty="0"/>
            </a:b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ACB6CFB-017C-07CB-C76D-D9162BE65281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  <a:solidFill>
            <a:schemeClr val="bg1"/>
          </a:solidFill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6AA5BB6-48E5-8E32-B4AA-B288D7B7E4A2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4D478FC-C1D6-0DE6-37C6-AA33FAD9B03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8137BB38-0D85-AF41-480D-149A509D2BC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3AD72DA-E868-B4DE-E8F7-70DDC92BB2E7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BD0C1D91-FFA1-5FDB-CEB8-B0B02CFC7AA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D82E447C-7A71-9209-D595-EE57E23B3EB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7" name="object 3">
            <a:extLst>
              <a:ext uri="{FF2B5EF4-FFF2-40B4-BE49-F238E27FC236}">
                <a16:creationId xmlns:a16="http://schemas.microsoft.com/office/drawing/2014/main" id="{C5EF4511-BC4F-0983-B1FD-B1C40AF754A9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58531630-32B9-1621-E0BF-AB57475FA4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759" y="795828"/>
            <a:ext cx="5310188" cy="310352"/>
          </a:xfrm>
        </p:spPr>
        <p:txBody>
          <a:bodyPr/>
          <a:lstStyle>
            <a:lvl1pPr>
              <a:defRPr sz="2000" b="1" spc="-20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9A87186C-6BB8-7F54-1DBF-FCB960A850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Text Placeholder 42">
            <a:extLst>
              <a:ext uri="{FF2B5EF4-FFF2-40B4-BE49-F238E27FC236}">
                <a16:creationId xmlns:a16="http://schemas.microsoft.com/office/drawing/2014/main" id="{7268F453-5DD7-4B1B-D9E2-E8A983EBC9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2443" y="1442171"/>
            <a:ext cx="4248143" cy="986701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400" spc="-8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800" spc="-40" baseline="0"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Presentation subtitle goes here over two lines if required. 24pt. </a:t>
            </a:r>
          </a:p>
        </p:txBody>
      </p:sp>
      <p:sp>
        <p:nvSpPr>
          <p:cNvPr id="3" name="object 20"/>
          <p:cNvSpPr/>
          <p:nvPr userDrawn="1"/>
        </p:nvSpPr>
        <p:spPr>
          <a:xfrm>
            <a:off x="6096000" y="723849"/>
            <a:ext cx="0" cy="5943472"/>
          </a:xfrm>
          <a:custGeom>
            <a:avLst/>
            <a:gdLst/>
            <a:ahLst/>
            <a:cxnLst/>
            <a:rect l="l" t="t" r="r" b="b"/>
            <a:pathLst>
              <a:path h="9801225">
                <a:moveTo>
                  <a:pt x="0" y="0"/>
                </a:moveTo>
                <a:lnTo>
                  <a:pt x="0" y="9800748"/>
                </a:lnTo>
              </a:path>
            </a:pathLst>
          </a:custGeom>
          <a:ln w="10470">
            <a:solidFill>
              <a:srgbClr val="D5EAE6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5" name="object 14">
            <a:extLst>
              <a:ext uri="{FF2B5EF4-FFF2-40B4-BE49-F238E27FC236}">
                <a16:creationId xmlns:a16="http://schemas.microsoft.com/office/drawing/2014/main" id="{360B8ECF-9133-C99E-C5A9-E2E52B1C4435}"/>
              </a:ext>
            </a:extLst>
          </p:cNvPr>
          <p:cNvGrpSpPr/>
          <p:nvPr userDrawn="1"/>
        </p:nvGrpSpPr>
        <p:grpSpPr>
          <a:xfrm>
            <a:off x="6438981" y="1217676"/>
            <a:ext cx="224493" cy="224493"/>
            <a:chOff x="10679834" y="2116859"/>
            <a:chExt cx="370205" cy="370205"/>
          </a:xfrm>
        </p:grpSpPr>
        <p:sp>
          <p:nvSpPr>
            <p:cNvPr id="6" name="object 15">
              <a:extLst>
                <a:ext uri="{FF2B5EF4-FFF2-40B4-BE49-F238E27FC236}">
                  <a16:creationId xmlns:a16="http://schemas.microsoft.com/office/drawing/2014/main" id="{62AEEE1B-D552-0C83-11B2-961F25033E89}"/>
                </a:ext>
              </a:extLst>
            </p:cNvPr>
            <p:cNvSpPr/>
            <p:nvPr/>
          </p:nvSpPr>
          <p:spPr>
            <a:xfrm>
              <a:off x="10686949" y="2116862"/>
              <a:ext cx="0" cy="370205"/>
            </a:xfrm>
            <a:custGeom>
              <a:avLst/>
              <a:gdLst/>
              <a:ahLst/>
              <a:cxnLst/>
              <a:rect l="l" t="t" r="r" b="b"/>
              <a:pathLst>
                <a:path h="370205">
                  <a:moveTo>
                    <a:pt x="0" y="0"/>
                  </a:moveTo>
                  <a:lnTo>
                    <a:pt x="0" y="369842"/>
                  </a:lnTo>
                </a:path>
              </a:pathLst>
            </a:custGeom>
            <a:ln w="1422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object 16">
              <a:extLst>
                <a:ext uri="{FF2B5EF4-FFF2-40B4-BE49-F238E27FC236}">
                  <a16:creationId xmlns:a16="http://schemas.microsoft.com/office/drawing/2014/main" id="{06EB6859-C8FF-37AA-B2E2-A7F59C880C2A}"/>
                </a:ext>
              </a:extLst>
            </p:cNvPr>
            <p:cNvSpPr/>
            <p:nvPr/>
          </p:nvSpPr>
          <p:spPr>
            <a:xfrm>
              <a:off x="10679838" y="2123974"/>
              <a:ext cx="370205" cy="0"/>
            </a:xfrm>
            <a:custGeom>
              <a:avLst/>
              <a:gdLst/>
              <a:ahLst/>
              <a:cxnLst/>
              <a:rect l="l" t="t" r="r" b="b"/>
              <a:pathLst>
                <a:path w="370204">
                  <a:moveTo>
                    <a:pt x="0" y="0"/>
                  </a:moveTo>
                  <a:lnTo>
                    <a:pt x="369842" y="0"/>
                  </a:lnTo>
                </a:path>
              </a:pathLst>
            </a:custGeom>
            <a:ln w="1422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8" name="object 17">
            <a:extLst>
              <a:ext uri="{FF2B5EF4-FFF2-40B4-BE49-F238E27FC236}">
                <a16:creationId xmlns:a16="http://schemas.microsoft.com/office/drawing/2014/main" id="{AC44FE70-ED21-09C6-2FFA-81933275004B}"/>
              </a:ext>
            </a:extLst>
          </p:cNvPr>
          <p:cNvGrpSpPr/>
          <p:nvPr userDrawn="1"/>
        </p:nvGrpSpPr>
        <p:grpSpPr>
          <a:xfrm>
            <a:off x="11198076" y="2448338"/>
            <a:ext cx="224493" cy="224493"/>
            <a:chOff x="18621210" y="4239587"/>
            <a:chExt cx="370205" cy="370205"/>
          </a:xfrm>
        </p:grpSpPr>
        <p:sp>
          <p:nvSpPr>
            <p:cNvPr id="9" name="object 18">
              <a:extLst>
                <a:ext uri="{FF2B5EF4-FFF2-40B4-BE49-F238E27FC236}">
                  <a16:creationId xmlns:a16="http://schemas.microsoft.com/office/drawing/2014/main" id="{46C5D13F-6067-FA6D-7FCF-A0847D668019}"/>
                </a:ext>
              </a:extLst>
            </p:cNvPr>
            <p:cNvSpPr/>
            <p:nvPr/>
          </p:nvSpPr>
          <p:spPr>
            <a:xfrm>
              <a:off x="18983942" y="4239587"/>
              <a:ext cx="0" cy="370205"/>
            </a:xfrm>
            <a:custGeom>
              <a:avLst/>
              <a:gdLst/>
              <a:ahLst/>
              <a:cxnLst/>
              <a:rect l="l" t="t" r="r" b="b"/>
              <a:pathLst>
                <a:path h="370204">
                  <a:moveTo>
                    <a:pt x="0" y="369842"/>
                  </a:moveTo>
                  <a:lnTo>
                    <a:pt x="0" y="0"/>
                  </a:lnTo>
                </a:path>
              </a:pathLst>
            </a:custGeom>
            <a:ln w="1422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object 19">
              <a:extLst>
                <a:ext uri="{FF2B5EF4-FFF2-40B4-BE49-F238E27FC236}">
                  <a16:creationId xmlns:a16="http://schemas.microsoft.com/office/drawing/2014/main" id="{B08DF403-153B-2B6B-4C00-20CAD3DEB398}"/>
                </a:ext>
              </a:extLst>
            </p:cNvPr>
            <p:cNvSpPr/>
            <p:nvPr/>
          </p:nvSpPr>
          <p:spPr>
            <a:xfrm>
              <a:off x="18621210" y="4602315"/>
              <a:ext cx="370205" cy="0"/>
            </a:xfrm>
            <a:custGeom>
              <a:avLst/>
              <a:gdLst/>
              <a:ahLst/>
              <a:cxnLst/>
              <a:rect l="l" t="t" r="r" b="b"/>
              <a:pathLst>
                <a:path w="370205">
                  <a:moveTo>
                    <a:pt x="369842" y="0"/>
                  </a:moveTo>
                  <a:lnTo>
                    <a:pt x="0" y="0"/>
                  </a:lnTo>
                </a:path>
              </a:pathLst>
            </a:custGeom>
            <a:ln w="1422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4FCD29CF-E38D-9175-CAFB-570250EA90F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22196" y="6226475"/>
            <a:ext cx="5326508" cy="334662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2224947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4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text +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D6047-A25C-7D70-1F8B-67AEFAF6A4E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2095500"/>
            <a:ext cx="4945216" cy="36639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 b="1">
                <a:latin typeface="+mn-lt"/>
              </a:defRPr>
            </a:lvl5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1168155"/>
            <a:ext cx="77757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9A0ACD1-FC2E-123C-455F-A17C80C8C79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65130" y="2095500"/>
            <a:ext cx="5584111" cy="3663950"/>
          </a:xfrm>
        </p:spPr>
        <p:txBody>
          <a:bodyPr/>
          <a:lstStyle>
            <a:lvl1pPr marL="263525" indent="0">
              <a:defRPr>
                <a:latin typeface="+mn-lt"/>
              </a:defRPr>
            </a:lvl1pPr>
            <a:lvl2pPr marL="442913" indent="-179388">
              <a:defRPr>
                <a:latin typeface="+mn-lt"/>
              </a:defRPr>
            </a:lvl2pPr>
            <a:lvl3pPr marL="263525" indent="0">
              <a:defRPr>
                <a:latin typeface="+mn-lt"/>
              </a:defRPr>
            </a:lvl3pPr>
            <a:lvl4pPr marL="263525" indent="-263525">
              <a:buSzPct val="100000"/>
              <a:buFont typeface="UKCEH Suisse" panose="020B0504000000000000" pitchFamily="34" charset="-78"/>
              <a:buChar char="•"/>
              <a:defRPr>
                <a:latin typeface="+mn-lt"/>
              </a:defRPr>
            </a:lvl4pPr>
            <a:lvl5pPr marL="263525" indent="0">
              <a:defRPr b="1">
                <a:latin typeface="+mn-lt"/>
              </a:defRPr>
            </a:lvl5pPr>
            <a:lvl6pPr marL="263525" indent="0">
              <a:defRPr>
                <a:latin typeface="+mn-lt"/>
              </a:defRPr>
            </a:lvl6pPr>
            <a:lvl7pPr marL="263525" indent="0">
              <a:defRPr>
                <a:latin typeface="+mn-lt"/>
              </a:defRPr>
            </a:lvl7pPr>
            <a:lvl8pPr marL="263525" indent="0">
              <a:defRPr>
                <a:latin typeface="+mn-lt"/>
              </a:defRPr>
            </a:lvl8pPr>
            <a:lvl9pPr marL="263525" indent="0">
              <a:defRPr>
                <a:latin typeface="+mn-lt"/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DDE2EF88-6D36-A95E-A594-B3209FF843F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22195" y="6089950"/>
            <a:ext cx="11203067" cy="47118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35364584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Intro text +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D6047-A25C-7D70-1F8B-67AEFAF6A4E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2095500"/>
            <a:ext cx="4945216" cy="36639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 b="1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1">
                <a:solidFill>
                  <a:schemeClr val="bg1"/>
                </a:solidFill>
                <a:latin typeface="+mn-lt"/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1153525"/>
            <a:ext cx="7775729" cy="465103"/>
          </a:xfrm>
        </p:spPr>
        <p:txBody>
          <a:bodyPr/>
          <a:lstStyle>
            <a:lvl1pPr>
              <a:defRPr sz="4000" spc="-110" baseline="0">
                <a:solidFill>
                  <a:schemeClr val="bg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9A0ACD1-FC2E-123C-455F-A17C80C8C79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65130" y="2095500"/>
            <a:ext cx="5584111" cy="3663950"/>
          </a:xfrm>
        </p:spPr>
        <p:txBody>
          <a:bodyPr/>
          <a:lstStyle>
            <a:lvl1pPr marL="263525" indent="0">
              <a:defRPr>
                <a:solidFill>
                  <a:schemeClr val="bg1"/>
                </a:solidFill>
                <a:latin typeface="+mn-lt"/>
              </a:defRPr>
            </a:lvl1pPr>
            <a:lvl2pPr marL="442913" indent="-179388">
              <a:defRPr>
                <a:solidFill>
                  <a:schemeClr val="bg1"/>
                </a:solidFill>
                <a:latin typeface="+mn-lt"/>
              </a:defRPr>
            </a:lvl2pPr>
            <a:lvl3pPr marL="263525" indent="0">
              <a:defRPr>
                <a:solidFill>
                  <a:schemeClr val="bg1"/>
                </a:solidFill>
                <a:latin typeface="+mn-lt"/>
              </a:defRPr>
            </a:lvl3pPr>
            <a:lvl4pPr marL="263525" indent="-263525">
              <a:buSzPct val="100000"/>
              <a:buFont typeface="UKCEH Suisse" panose="020B0504000000000000" pitchFamily="34" charset="-78"/>
              <a:buChar char="•"/>
              <a:defRPr>
                <a:solidFill>
                  <a:schemeClr val="bg1"/>
                </a:solidFill>
                <a:latin typeface="+mn-lt"/>
              </a:defRPr>
            </a:lvl4pPr>
            <a:lvl5pPr marL="263525" indent="0">
              <a:defRPr b="1">
                <a:solidFill>
                  <a:schemeClr val="bg1"/>
                </a:solidFill>
                <a:latin typeface="+mn-lt"/>
              </a:defRPr>
            </a:lvl5pPr>
            <a:lvl6pPr marL="263525" indent="0">
              <a:defRPr>
                <a:solidFill>
                  <a:schemeClr val="bg1"/>
                </a:solidFill>
                <a:latin typeface="+mn-lt"/>
              </a:defRPr>
            </a:lvl6pPr>
            <a:lvl7pPr marL="263525" indent="0">
              <a:defRPr>
                <a:solidFill>
                  <a:schemeClr val="bg1"/>
                </a:solidFill>
                <a:latin typeface="+mn-lt"/>
              </a:defRPr>
            </a:lvl7pPr>
            <a:lvl8pPr marL="263525" indent="0">
              <a:defRPr>
                <a:solidFill>
                  <a:schemeClr val="bg1"/>
                </a:solidFill>
                <a:latin typeface="+mn-lt"/>
              </a:defRPr>
            </a:lvl8pPr>
            <a:lvl9pPr marL="263525" indent="0">
              <a:defRPr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B1C7523-076C-D32E-9710-7899A9F296B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 presentation title ]</a:t>
            </a:r>
            <a:endParaRPr lang="en-GB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A3F6AD7-838C-AE45-CA60-4023A2202E1E}"/>
              </a:ext>
            </a:extLst>
          </p:cNvPr>
          <p:cNvGrpSpPr/>
          <p:nvPr userDrawn="1"/>
        </p:nvGrpSpPr>
        <p:grpSpPr>
          <a:xfrm>
            <a:off x="143595" y="135785"/>
            <a:ext cx="1089185" cy="288028"/>
            <a:chOff x="143595" y="135785"/>
            <a:chExt cx="1089185" cy="288028"/>
          </a:xfrm>
          <a:solidFill>
            <a:schemeClr val="bg1"/>
          </a:solidFill>
        </p:grpSpPr>
        <p:sp>
          <p:nvSpPr>
            <p:cNvPr id="9" name="object 8">
              <a:extLst>
                <a:ext uri="{FF2B5EF4-FFF2-40B4-BE49-F238E27FC236}">
                  <a16:creationId xmlns:a16="http://schemas.microsoft.com/office/drawing/2014/main" id="{00F0D318-D444-A580-8C5A-9D65D1C36559}"/>
                </a:ext>
              </a:extLst>
            </p:cNvPr>
            <p:cNvSpPr/>
            <p:nvPr userDrawn="1"/>
          </p:nvSpPr>
          <p:spPr>
            <a:xfrm>
              <a:off x="478824" y="191457"/>
              <a:ext cx="753956" cy="175204"/>
            </a:xfrm>
            <a:custGeom>
              <a:avLst/>
              <a:gdLst/>
              <a:ahLst/>
              <a:cxnLst/>
              <a:rect l="l" t="t" r="r" b="b"/>
              <a:pathLst>
                <a:path w="1243330" h="288925">
                  <a:moveTo>
                    <a:pt x="39223" y="4994"/>
                  </a:moveTo>
                  <a:lnTo>
                    <a:pt x="0" y="4994"/>
                  </a:lnTo>
                  <a:lnTo>
                    <a:pt x="0" y="170361"/>
                  </a:lnTo>
                  <a:lnTo>
                    <a:pt x="6495" y="225537"/>
                  </a:lnTo>
                  <a:lnTo>
                    <a:pt x="26582" y="262179"/>
                  </a:lnTo>
                  <a:lnTo>
                    <a:pt x="61163" y="282523"/>
                  </a:lnTo>
                  <a:lnTo>
                    <a:pt x="111137" y="288807"/>
                  </a:lnTo>
                  <a:lnTo>
                    <a:pt x="162919" y="281285"/>
                  </a:lnTo>
                  <a:lnTo>
                    <a:pt x="197719" y="258621"/>
                  </a:lnTo>
                  <a:lnTo>
                    <a:pt x="199605" y="254966"/>
                  </a:lnTo>
                  <a:lnTo>
                    <a:pt x="111137" y="254966"/>
                  </a:lnTo>
                  <a:lnTo>
                    <a:pt x="77840" y="250140"/>
                  </a:lnTo>
                  <a:lnTo>
                    <a:pt x="55571" y="235401"/>
                  </a:lnTo>
                  <a:lnTo>
                    <a:pt x="43106" y="210350"/>
                  </a:lnTo>
                  <a:lnTo>
                    <a:pt x="39223" y="174591"/>
                  </a:lnTo>
                  <a:lnTo>
                    <a:pt x="39223" y="4994"/>
                  </a:lnTo>
                  <a:close/>
                </a:path>
                <a:path w="1243330" h="288925">
                  <a:moveTo>
                    <a:pt x="223438" y="4994"/>
                  </a:moveTo>
                  <a:lnTo>
                    <a:pt x="184214" y="4994"/>
                  </a:lnTo>
                  <a:lnTo>
                    <a:pt x="184214" y="170361"/>
                  </a:lnTo>
                  <a:lnTo>
                    <a:pt x="180314" y="206781"/>
                  </a:lnTo>
                  <a:lnTo>
                    <a:pt x="167725" y="233286"/>
                  </a:lnTo>
                  <a:lnTo>
                    <a:pt x="145111" y="249479"/>
                  </a:lnTo>
                  <a:lnTo>
                    <a:pt x="111137" y="254966"/>
                  </a:lnTo>
                  <a:lnTo>
                    <a:pt x="199605" y="254966"/>
                  </a:lnTo>
                  <a:lnTo>
                    <a:pt x="217302" y="220669"/>
                  </a:lnTo>
                  <a:lnTo>
                    <a:pt x="223438" y="167282"/>
                  </a:lnTo>
                  <a:lnTo>
                    <a:pt x="223438" y="4994"/>
                  </a:lnTo>
                  <a:close/>
                </a:path>
                <a:path w="1243330" h="288925">
                  <a:moveTo>
                    <a:pt x="313037" y="4994"/>
                  </a:moveTo>
                  <a:lnTo>
                    <a:pt x="273813" y="4994"/>
                  </a:lnTo>
                  <a:lnTo>
                    <a:pt x="273813" y="283802"/>
                  </a:lnTo>
                  <a:lnTo>
                    <a:pt x="313037" y="283802"/>
                  </a:lnTo>
                  <a:lnTo>
                    <a:pt x="313037" y="196130"/>
                  </a:lnTo>
                  <a:lnTo>
                    <a:pt x="356879" y="147670"/>
                  </a:lnTo>
                  <a:lnTo>
                    <a:pt x="403714" y="147670"/>
                  </a:lnTo>
                  <a:lnTo>
                    <a:pt x="402092" y="145367"/>
                  </a:lnTo>
                  <a:lnTo>
                    <a:pt x="313037" y="145367"/>
                  </a:lnTo>
                  <a:lnTo>
                    <a:pt x="313037" y="4994"/>
                  </a:lnTo>
                  <a:close/>
                </a:path>
                <a:path w="1243330" h="288925">
                  <a:moveTo>
                    <a:pt x="403714" y="147670"/>
                  </a:moveTo>
                  <a:lnTo>
                    <a:pt x="356879" y="147670"/>
                  </a:lnTo>
                  <a:lnTo>
                    <a:pt x="452635" y="283802"/>
                  </a:lnTo>
                  <a:lnTo>
                    <a:pt x="499555" y="283802"/>
                  </a:lnTo>
                  <a:lnTo>
                    <a:pt x="403714" y="147670"/>
                  </a:lnTo>
                  <a:close/>
                </a:path>
                <a:path w="1243330" h="288925">
                  <a:moveTo>
                    <a:pt x="487639" y="4994"/>
                  </a:moveTo>
                  <a:lnTo>
                    <a:pt x="438792" y="4994"/>
                  </a:lnTo>
                  <a:lnTo>
                    <a:pt x="313037" y="145367"/>
                  </a:lnTo>
                  <a:lnTo>
                    <a:pt x="402092" y="145367"/>
                  </a:lnTo>
                  <a:lnTo>
                    <a:pt x="383412" y="118834"/>
                  </a:lnTo>
                  <a:lnTo>
                    <a:pt x="487639" y="4994"/>
                  </a:lnTo>
                  <a:close/>
                </a:path>
                <a:path w="1243330" h="288925">
                  <a:moveTo>
                    <a:pt x="630692" y="0"/>
                  </a:moveTo>
                  <a:lnTo>
                    <a:pt x="587086" y="6688"/>
                  </a:lnTo>
                  <a:lnTo>
                    <a:pt x="551180" y="25818"/>
                  </a:lnTo>
                  <a:lnTo>
                    <a:pt x="524117" y="55986"/>
                  </a:lnTo>
                  <a:lnTo>
                    <a:pt x="507040" y="95790"/>
                  </a:lnTo>
                  <a:lnTo>
                    <a:pt x="501094" y="143828"/>
                  </a:lnTo>
                  <a:lnTo>
                    <a:pt x="506546" y="191167"/>
                  </a:lnTo>
                  <a:lnTo>
                    <a:pt x="506572" y="191394"/>
                  </a:lnTo>
                  <a:lnTo>
                    <a:pt x="522590" y="231410"/>
                  </a:lnTo>
                  <a:lnTo>
                    <a:pt x="548520" y="262141"/>
                  </a:lnTo>
                  <a:lnTo>
                    <a:pt x="583737" y="281852"/>
                  </a:lnTo>
                  <a:lnTo>
                    <a:pt x="627614" y="288807"/>
                  </a:lnTo>
                  <a:lnTo>
                    <a:pt x="670222" y="282799"/>
                  </a:lnTo>
                  <a:lnTo>
                    <a:pt x="706016" y="264965"/>
                  </a:lnTo>
                  <a:lnTo>
                    <a:pt x="714428" y="255740"/>
                  </a:lnTo>
                  <a:lnTo>
                    <a:pt x="629917" y="255740"/>
                  </a:lnTo>
                  <a:lnTo>
                    <a:pt x="594136" y="248205"/>
                  </a:lnTo>
                  <a:lnTo>
                    <a:pt x="566032" y="226320"/>
                  </a:lnTo>
                  <a:lnTo>
                    <a:pt x="547781" y="191394"/>
                  </a:lnTo>
                  <a:lnTo>
                    <a:pt x="547662" y="191167"/>
                  </a:lnTo>
                  <a:lnTo>
                    <a:pt x="541083" y="143828"/>
                  </a:lnTo>
                  <a:lnTo>
                    <a:pt x="547861" y="96019"/>
                  </a:lnTo>
                  <a:lnTo>
                    <a:pt x="566465" y="61334"/>
                  </a:lnTo>
                  <a:lnTo>
                    <a:pt x="594299" y="40206"/>
                  </a:lnTo>
                  <a:lnTo>
                    <a:pt x="628766" y="33067"/>
                  </a:lnTo>
                  <a:lnTo>
                    <a:pt x="713229" y="33067"/>
                  </a:lnTo>
                  <a:lnTo>
                    <a:pt x="705776" y="24564"/>
                  </a:lnTo>
                  <a:lnTo>
                    <a:pt x="671443" y="6279"/>
                  </a:lnTo>
                  <a:lnTo>
                    <a:pt x="630692" y="0"/>
                  </a:lnTo>
                  <a:close/>
                </a:path>
                <a:path w="1243330" h="288925">
                  <a:moveTo>
                    <a:pt x="748364" y="194978"/>
                  </a:moveTo>
                  <a:lnTo>
                    <a:pt x="710292" y="194978"/>
                  </a:lnTo>
                  <a:lnTo>
                    <a:pt x="700279" y="219557"/>
                  </a:lnTo>
                  <a:lnTo>
                    <a:pt x="683522" y="238768"/>
                  </a:lnTo>
                  <a:lnTo>
                    <a:pt x="660056" y="251275"/>
                  </a:lnTo>
                  <a:lnTo>
                    <a:pt x="629917" y="255740"/>
                  </a:lnTo>
                  <a:lnTo>
                    <a:pt x="714428" y="255740"/>
                  </a:lnTo>
                  <a:lnTo>
                    <a:pt x="732797" y="235595"/>
                  </a:lnTo>
                  <a:lnTo>
                    <a:pt x="748364" y="194978"/>
                  </a:lnTo>
                  <a:close/>
                </a:path>
                <a:path w="1243330" h="288925">
                  <a:moveTo>
                    <a:pt x="713229" y="33067"/>
                  </a:moveTo>
                  <a:lnTo>
                    <a:pt x="628766" y="33067"/>
                  </a:lnTo>
                  <a:lnTo>
                    <a:pt x="658788" y="37640"/>
                  </a:lnTo>
                  <a:lnTo>
                    <a:pt x="682318" y="50325"/>
                  </a:lnTo>
                  <a:lnTo>
                    <a:pt x="699069" y="69572"/>
                  </a:lnTo>
                  <a:lnTo>
                    <a:pt x="708753" y="93829"/>
                  </a:lnTo>
                  <a:lnTo>
                    <a:pt x="746825" y="93829"/>
                  </a:lnTo>
                  <a:lnTo>
                    <a:pt x="731601" y="54024"/>
                  </a:lnTo>
                  <a:lnTo>
                    <a:pt x="713229" y="33067"/>
                  </a:lnTo>
                  <a:close/>
                </a:path>
                <a:path w="1243330" h="288925">
                  <a:moveTo>
                    <a:pt x="975268" y="4994"/>
                  </a:moveTo>
                  <a:lnTo>
                    <a:pt x="786059" y="4994"/>
                  </a:lnTo>
                  <a:lnTo>
                    <a:pt x="786059" y="283802"/>
                  </a:lnTo>
                  <a:lnTo>
                    <a:pt x="975268" y="283802"/>
                  </a:lnTo>
                  <a:lnTo>
                    <a:pt x="975268" y="249971"/>
                  </a:lnTo>
                  <a:lnTo>
                    <a:pt x="825283" y="249971"/>
                  </a:lnTo>
                  <a:lnTo>
                    <a:pt x="825283" y="157283"/>
                  </a:lnTo>
                  <a:lnTo>
                    <a:pt x="966420" y="157283"/>
                  </a:lnTo>
                  <a:lnTo>
                    <a:pt x="966420" y="123441"/>
                  </a:lnTo>
                  <a:lnTo>
                    <a:pt x="825283" y="123441"/>
                  </a:lnTo>
                  <a:lnTo>
                    <a:pt x="825283" y="38836"/>
                  </a:lnTo>
                  <a:lnTo>
                    <a:pt x="975268" y="38836"/>
                  </a:lnTo>
                  <a:lnTo>
                    <a:pt x="975268" y="4994"/>
                  </a:lnTo>
                  <a:close/>
                </a:path>
                <a:path w="1243330" h="288925">
                  <a:moveTo>
                    <a:pt x="1057171" y="4994"/>
                  </a:moveTo>
                  <a:lnTo>
                    <a:pt x="1017948" y="4994"/>
                  </a:lnTo>
                  <a:lnTo>
                    <a:pt x="1017948" y="283802"/>
                  </a:lnTo>
                  <a:lnTo>
                    <a:pt x="1057171" y="283802"/>
                  </a:lnTo>
                  <a:lnTo>
                    <a:pt x="1057171" y="157283"/>
                  </a:lnTo>
                  <a:lnTo>
                    <a:pt x="1242925" y="157283"/>
                  </a:lnTo>
                  <a:lnTo>
                    <a:pt x="1242925" y="123441"/>
                  </a:lnTo>
                  <a:lnTo>
                    <a:pt x="1057171" y="123441"/>
                  </a:lnTo>
                  <a:lnTo>
                    <a:pt x="1057171" y="4994"/>
                  </a:lnTo>
                  <a:close/>
                </a:path>
                <a:path w="1243330" h="288925">
                  <a:moveTo>
                    <a:pt x="1242925" y="157283"/>
                  </a:moveTo>
                  <a:lnTo>
                    <a:pt x="1203701" y="157283"/>
                  </a:lnTo>
                  <a:lnTo>
                    <a:pt x="1203701" y="283802"/>
                  </a:lnTo>
                  <a:lnTo>
                    <a:pt x="1242925" y="283802"/>
                  </a:lnTo>
                  <a:lnTo>
                    <a:pt x="1242925" y="157283"/>
                  </a:lnTo>
                  <a:close/>
                </a:path>
                <a:path w="1243330" h="288925">
                  <a:moveTo>
                    <a:pt x="1242925" y="4994"/>
                  </a:moveTo>
                  <a:lnTo>
                    <a:pt x="1203701" y="4994"/>
                  </a:lnTo>
                  <a:lnTo>
                    <a:pt x="1203701" y="123441"/>
                  </a:lnTo>
                  <a:lnTo>
                    <a:pt x="1242925" y="123441"/>
                  </a:lnTo>
                  <a:lnTo>
                    <a:pt x="1242925" y="4994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object 9">
              <a:extLst>
                <a:ext uri="{FF2B5EF4-FFF2-40B4-BE49-F238E27FC236}">
                  <a16:creationId xmlns:a16="http://schemas.microsoft.com/office/drawing/2014/main" id="{8C35BABA-596E-10CB-570B-CE9634D9EDC7}"/>
                </a:ext>
              </a:extLst>
            </p:cNvPr>
            <p:cNvSpPr/>
            <p:nvPr userDrawn="1"/>
          </p:nvSpPr>
          <p:spPr>
            <a:xfrm>
              <a:off x="143595" y="135785"/>
              <a:ext cx="288028" cy="288028"/>
            </a:xfrm>
            <a:custGeom>
              <a:avLst/>
              <a:gdLst/>
              <a:ahLst/>
              <a:cxnLst/>
              <a:rect l="l" t="t" r="r" b="b"/>
              <a:pathLst>
                <a:path w="474980" h="474980">
                  <a:moveTo>
                    <a:pt x="62826" y="237299"/>
                  </a:moveTo>
                  <a:lnTo>
                    <a:pt x="60350" y="225069"/>
                  </a:lnTo>
                  <a:lnTo>
                    <a:pt x="53619" y="215087"/>
                  </a:lnTo>
                  <a:lnTo>
                    <a:pt x="43637" y="208356"/>
                  </a:lnTo>
                  <a:lnTo>
                    <a:pt x="31407" y="205879"/>
                  </a:lnTo>
                  <a:lnTo>
                    <a:pt x="19177" y="208356"/>
                  </a:lnTo>
                  <a:lnTo>
                    <a:pt x="9194" y="215087"/>
                  </a:lnTo>
                  <a:lnTo>
                    <a:pt x="2463" y="225069"/>
                  </a:lnTo>
                  <a:lnTo>
                    <a:pt x="0" y="237299"/>
                  </a:lnTo>
                  <a:lnTo>
                    <a:pt x="2463" y="249516"/>
                  </a:lnTo>
                  <a:lnTo>
                    <a:pt x="9194" y="259499"/>
                  </a:lnTo>
                  <a:lnTo>
                    <a:pt x="19177" y="266230"/>
                  </a:lnTo>
                  <a:lnTo>
                    <a:pt x="31407" y="268693"/>
                  </a:lnTo>
                  <a:lnTo>
                    <a:pt x="43637" y="266230"/>
                  </a:lnTo>
                  <a:lnTo>
                    <a:pt x="53619" y="259499"/>
                  </a:lnTo>
                  <a:lnTo>
                    <a:pt x="60350" y="249516"/>
                  </a:lnTo>
                  <a:lnTo>
                    <a:pt x="62826" y="237299"/>
                  </a:lnTo>
                  <a:close/>
                </a:path>
                <a:path w="474980" h="474980">
                  <a:moveTo>
                    <a:pt x="90170" y="336346"/>
                  </a:moveTo>
                  <a:lnTo>
                    <a:pt x="86194" y="324523"/>
                  </a:lnTo>
                  <a:lnTo>
                    <a:pt x="77939" y="315175"/>
                  </a:lnTo>
                  <a:lnTo>
                    <a:pt x="67119" y="309892"/>
                  </a:lnTo>
                  <a:lnTo>
                    <a:pt x="55118" y="309054"/>
                  </a:lnTo>
                  <a:lnTo>
                    <a:pt x="43294" y="313029"/>
                  </a:lnTo>
                  <a:lnTo>
                    <a:pt x="33934" y="321284"/>
                  </a:lnTo>
                  <a:lnTo>
                    <a:pt x="28651" y="332105"/>
                  </a:lnTo>
                  <a:lnTo>
                    <a:pt x="27813" y="344106"/>
                  </a:lnTo>
                  <a:lnTo>
                    <a:pt x="31788" y="355930"/>
                  </a:lnTo>
                  <a:lnTo>
                    <a:pt x="40043" y="365290"/>
                  </a:lnTo>
                  <a:lnTo>
                    <a:pt x="50863" y="370560"/>
                  </a:lnTo>
                  <a:lnTo>
                    <a:pt x="62877" y="371398"/>
                  </a:lnTo>
                  <a:lnTo>
                    <a:pt x="74701" y="367423"/>
                  </a:lnTo>
                  <a:lnTo>
                    <a:pt x="84048" y="359181"/>
                  </a:lnTo>
                  <a:lnTo>
                    <a:pt x="89331" y="348361"/>
                  </a:lnTo>
                  <a:lnTo>
                    <a:pt x="90170" y="336346"/>
                  </a:lnTo>
                  <a:close/>
                </a:path>
                <a:path w="474980" h="474980">
                  <a:moveTo>
                    <a:pt x="90170" y="138239"/>
                  </a:moveTo>
                  <a:lnTo>
                    <a:pt x="89331" y="126225"/>
                  </a:lnTo>
                  <a:lnTo>
                    <a:pt x="84048" y="115404"/>
                  </a:lnTo>
                  <a:lnTo>
                    <a:pt x="74701" y="107149"/>
                  </a:lnTo>
                  <a:lnTo>
                    <a:pt x="62877" y="103174"/>
                  </a:lnTo>
                  <a:lnTo>
                    <a:pt x="50863" y="104013"/>
                  </a:lnTo>
                  <a:lnTo>
                    <a:pt x="40043" y="109296"/>
                  </a:lnTo>
                  <a:lnTo>
                    <a:pt x="31800" y="118656"/>
                  </a:lnTo>
                  <a:lnTo>
                    <a:pt x="27813" y="130479"/>
                  </a:lnTo>
                  <a:lnTo>
                    <a:pt x="28651" y="142481"/>
                  </a:lnTo>
                  <a:lnTo>
                    <a:pt x="33934" y="153301"/>
                  </a:lnTo>
                  <a:lnTo>
                    <a:pt x="43281" y="161556"/>
                  </a:lnTo>
                  <a:lnTo>
                    <a:pt x="55105" y="165519"/>
                  </a:lnTo>
                  <a:lnTo>
                    <a:pt x="67119" y="164693"/>
                  </a:lnTo>
                  <a:lnTo>
                    <a:pt x="77939" y="159410"/>
                  </a:lnTo>
                  <a:lnTo>
                    <a:pt x="86194" y="150050"/>
                  </a:lnTo>
                  <a:lnTo>
                    <a:pt x="90170" y="138239"/>
                  </a:lnTo>
                  <a:close/>
                </a:path>
                <a:path w="474980" h="474980">
                  <a:moveTo>
                    <a:pt x="141947" y="237286"/>
                  </a:moveTo>
                  <a:lnTo>
                    <a:pt x="140106" y="228117"/>
                  </a:lnTo>
                  <a:lnTo>
                    <a:pt x="135051" y="220637"/>
                  </a:lnTo>
                  <a:lnTo>
                    <a:pt x="127571" y="215582"/>
                  </a:lnTo>
                  <a:lnTo>
                    <a:pt x="118402" y="213741"/>
                  </a:lnTo>
                  <a:lnTo>
                    <a:pt x="109232" y="215582"/>
                  </a:lnTo>
                  <a:lnTo>
                    <a:pt x="101752" y="220637"/>
                  </a:lnTo>
                  <a:lnTo>
                    <a:pt x="96697" y="228117"/>
                  </a:lnTo>
                  <a:lnTo>
                    <a:pt x="94856" y="237286"/>
                  </a:lnTo>
                  <a:lnTo>
                    <a:pt x="96697" y="246456"/>
                  </a:lnTo>
                  <a:lnTo>
                    <a:pt x="101752" y="253949"/>
                  </a:lnTo>
                  <a:lnTo>
                    <a:pt x="109232" y="258991"/>
                  </a:lnTo>
                  <a:lnTo>
                    <a:pt x="118402" y="260845"/>
                  </a:lnTo>
                  <a:lnTo>
                    <a:pt x="127571" y="258991"/>
                  </a:lnTo>
                  <a:lnTo>
                    <a:pt x="135051" y="253949"/>
                  </a:lnTo>
                  <a:lnTo>
                    <a:pt x="140106" y="246456"/>
                  </a:lnTo>
                  <a:lnTo>
                    <a:pt x="141947" y="237286"/>
                  </a:lnTo>
                  <a:close/>
                </a:path>
                <a:path w="474980" h="474980">
                  <a:moveTo>
                    <a:pt x="165519" y="419468"/>
                  </a:moveTo>
                  <a:lnTo>
                    <a:pt x="164680" y="407454"/>
                  </a:lnTo>
                  <a:lnTo>
                    <a:pt x="159397" y="396633"/>
                  </a:lnTo>
                  <a:lnTo>
                    <a:pt x="150050" y="388378"/>
                  </a:lnTo>
                  <a:lnTo>
                    <a:pt x="138226" y="384403"/>
                  </a:lnTo>
                  <a:lnTo>
                    <a:pt x="126212" y="385241"/>
                  </a:lnTo>
                  <a:lnTo>
                    <a:pt x="115392" y="390525"/>
                  </a:lnTo>
                  <a:lnTo>
                    <a:pt x="107149" y="399884"/>
                  </a:lnTo>
                  <a:lnTo>
                    <a:pt x="103174" y="411708"/>
                  </a:lnTo>
                  <a:lnTo>
                    <a:pt x="104013" y="423710"/>
                  </a:lnTo>
                  <a:lnTo>
                    <a:pt x="109296" y="434530"/>
                  </a:lnTo>
                  <a:lnTo>
                    <a:pt x="118643" y="442785"/>
                  </a:lnTo>
                  <a:lnTo>
                    <a:pt x="130467" y="446760"/>
                  </a:lnTo>
                  <a:lnTo>
                    <a:pt x="142481" y="445922"/>
                  </a:lnTo>
                  <a:lnTo>
                    <a:pt x="153301" y="440639"/>
                  </a:lnTo>
                  <a:lnTo>
                    <a:pt x="161544" y="431292"/>
                  </a:lnTo>
                  <a:lnTo>
                    <a:pt x="165519" y="419468"/>
                  </a:lnTo>
                  <a:close/>
                </a:path>
                <a:path w="474980" h="474980">
                  <a:moveTo>
                    <a:pt x="165519" y="55118"/>
                  </a:moveTo>
                  <a:lnTo>
                    <a:pt x="161544" y="43294"/>
                  </a:lnTo>
                  <a:lnTo>
                    <a:pt x="153301" y="33947"/>
                  </a:lnTo>
                  <a:lnTo>
                    <a:pt x="142481" y="28663"/>
                  </a:lnTo>
                  <a:lnTo>
                    <a:pt x="130467" y="27825"/>
                  </a:lnTo>
                  <a:lnTo>
                    <a:pt x="118643" y="31800"/>
                  </a:lnTo>
                  <a:lnTo>
                    <a:pt x="109296" y="40043"/>
                  </a:lnTo>
                  <a:lnTo>
                    <a:pt x="104013" y="50876"/>
                  </a:lnTo>
                  <a:lnTo>
                    <a:pt x="103174" y="62890"/>
                  </a:lnTo>
                  <a:lnTo>
                    <a:pt x="107149" y="74714"/>
                  </a:lnTo>
                  <a:lnTo>
                    <a:pt x="115404" y="84061"/>
                  </a:lnTo>
                  <a:lnTo>
                    <a:pt x="126212" y="89331"/>
                  </a:lnTo>
                  <a:lnTo>
                    <a:pt x="138226" y="90170"/>
                  </a:lnTo>
                  <a:lnTo>
                    <a:pt x="150050" y="86194"/>
                  </a:lnTo>
                  <a:lnTo>
                    <a:pt x="159410" y="77952"/>
                  </a:lnTo>
                  <a:lnTo>
                    <a:pt x="164680" y="67132"/>
                  </a:lnTo>
                  <a:lnTo>
                    <a:pt x="165519" y="55118"/>
                  </a:lnTo>
                  <a:close/>
                </a:path>
                <a:path w="474980" h="474980">
                  <a:moveTo>
                    <a:pt x="176771" y="321348"/>
                  </a:moveTo>
                  <a:lnTo>
                    <a:pt x="175056" y="312483"/>
                  </a:lnTo>
                  <a:lnTo>
                    <a:pt x="169875" y="304698"/>
                  </a:lnTo>
                  <a:lnTo>
                    <a:pt x="162077" y="299529"/>
                  </a:lnTo>
                  <a:lnTo>
                    <a:pt x="153225" y="297802"/>
                  </a:lnTo>
                  <a:lnTo>
                    <a:pt x="144360" y="299529"/>
                  </a:lnTo>
                  <a:lnTo>
                    <a:pt x="136563" y="304698"/>
                  </a:lnTo>
                  <a:lnTo>
                    <a:pt x="131394" y="312483"/>
                  </a:lnTo>
                  <a:lnTo>
                    <a:pt x="129667" y="321348"/>
                  </a:lnTo>
                  <a:lnTo>
                    <a:pt x="131394" y="330212"/>
                  </a:lnTo>
                  <a:lnTo>
                    <a:pt x="136563" y="338010"/>
                  </a:lnTo>
                  <a:lnTo>
                    <a:pt x="144360" y="343179"/>
                  </a:lnTo>
                  <a:lnTo>
                    <a:pt x="153225" y="344906"/>
                  </a:lnTo>
                  <a:lnTo>
                    <a:pt x="162077" y="343179"/>
                  </a:lnTo>
                  <a:lnTo>
                    <a:pt x="169875" y="338010"/>
                  </a:lnTo>
                  <a:lnTo>
                    <a:pt x="175056" y="330212"/>
                  </a:lnTo>
                  <a:lnTo>
                    <a:pt x="176771" y="321348"/>
                  </a:lnTo>
                  <a:close/>
                </a:path>
                <a:path w="474980" h="474980">
                  <a:moveTo>
                    <a:pt x="176784" y="153225"/>
                  </a:moveTo>
                  <a:lnTo>
                    <a:pt x="175056" y="144360"/>
                  </a:lnTo>
                  <a:lnTo>
                    <a:pt x="169875" y="136575"/>
                  </a:lnTo>
                  <a:lnTo>
                    <a:pt x="162090" y="131394"/>
                  </a:lnTo>
                  <a:lnTo>
                    <a:pt x="153225" y="129679"/>
                  </a:lnTo>
                  <a:lnTo>
                    <a:pt x="144360" y="131394"/>
                  </a:lnTo>
                  <a:lnTo>
                    <a:pt x="136575" y="136575"/>
                  </a:lnTo>
                  <a:lnTo>
                    <a:pt x="131394" y="144360"/>
                  </a:lnTo>
                  <a:lnTo>
                    <a:pt x="129667" y="153225"/>
                  </a:lnTo>
                  <a:lnTo>
                    <a:pt x="131394" y="162090"/>
                  </a:lnTo>
                  <a:lnTo>
                    <a:pt x="136575" y="169875"/>
                  </a:lnTo>
                  <a:lnTo>
                    <a:pt x="144360" y="175056"/>
                  </a:lnTo>
                  <a:lnTo>
                    <a:pt x="153225" y="176784"/>
                  </a:lnTo>
                  <a:lnTo>
                    <a:pt x="162090" y="175056"/>
                  </a:lnTo>
                  <a:lnTo>
                    <a:pt x="169875" y="169875"/>
                  </a:lnTo>
                  <a:lnTo>
                    <a:pt x="175056" y="162090"/>
                  </a:lnTo>
                  <a:lnTo>
                    <a:pt x="176784" y="153225"/>
                  </a:lnTo>
                  <a:close/>
                </a:path>
                <a:path w="474980" h="474980">
                  <a:moveTo>
                    <a:pt x="209016" y="261874"/>
                  </a:moveTo>
                  <a:lnTo>
                    <a:pt x="201853" y="249478"/>
                  </a:lnTo>
                  <a:lnTo>
                    <a:pt x="193941" y="247357"/>
                  </a:lnTo>
                  <a:lnTo>
                    <a:pt x="187744" y="250939"/>
                  </a:lnTo>
                  <a:lnTo>
                    <a:pt x="181546" y="254520"/>
                  </a:lnTo>
                  <a:lnTo>
                    <a:pt x="179412" y="262432"/>
                  </a:lnTo>
                  <a:lnTo>
                    <a:pt x="186575" y="274828"/>
                  </a:lnTo>
                  <a:lnTo>
                    <a:pt x="194500" y="276961"/>
                  </a:lnTo>
                  <a:lnTo>
                    <a:pt x="206895" y="269798"/>
                  </a:lnTo>
                  <a:lnTo>
                    <a:pt x="209016" y="261874"/>
                  </a:lnTo>
                  <a:close/>
                </a:path>
                <a:path w="474980" h="474980">
                  <a:moveTo>
                    <a:pt x="209016" y="212699"/>
                  </a:moveTo>
                  <a:lnTo>
                    <a:pt x="206895" y="204787"/>
                  </a:lnTo>
                  <a:lnTo>
                    <a:pt x="200698" y="201206"/>
                  </a:lnTo>
                  <a:lnTo>
                    <a:pt x="194500" y="197624"/>
                  </a:lnTo>
                  <a:lnTo>
                    <a:pt x="186575" y="199745"/>
                  </a:lnTo>
                  <a:lnTo>
                    <a:pt x="179425" y="212153"/>
                  </a:lnTo>
                  <a:lnTo>
                    <a:pt x="181546" y="220078"/>
                  </a:lnTo>
                  <a:lnTo>
                    <a:pt x="193941" y="227228"/>
                  </a:lnTo>
                  <a:lnTo>
                    <a:pt x="201853" y="225107"/>
                  </a:lnTo>
                  <a:lnTo>
                    <a:pt x="209016" y="212699"/>
                  </a:lnTo>
                  <a:close/>
                </a:path>
                <a:path w="474980" h="474980">
                  <a:moveTo>
                    <a:pt x="250240" y="279869"/>
                  </a:moveTo>
                  <a:lnTo>
                    <a:pt x="244449" y="274066"/>
                  </a:lnTo>
                  <a:lnTo>
                    <a:pt x="230136" y="274066"/>
                  </a:lnTo>
                  <a:lnTo>
                    <a:pt x="224332" y="279869"/>
                  </a:lnTo>
                  <a:lnTo>
                    <a:pt x="224332" y="287020"/>
                  </a:lnTo>
                  <a:lnTo>
                    <a:pt x="224332" y="294170"/>
                  </a:lnTo>
                  <a:lnTo>
                    <a:pt x="230136" y="299974"/>
                  </a:lnTo>
                  <a:lnTo>
                    <a:pt x="244449" y="299974"/>
                  </a:lnTo>
                  <a:lnTo>
                    <a:pt x="250240" y="294170"/>
                  </a:lnTo>
                  <a:lnTo>
                    <a:pt x="250240" y="279869"/>
                  </a:lnTo>
                  <a:close/>
                </a:path>
                <a:path w="474980" h="474980">
                  <a:moveTo>
                    <a:pt x="250240" y="180416"/>
                  </a:moveTo>
                  <a:lnTo>
                    <a:pt x="244436" y="174612"/>
                  </a:lnTo>
                  <a:lnTo>
                    <a:pt x="230124" y="174612"/>
                  </a:lnTo>
                  <a:lnTo>
                    <a:pt x="224332" y="180416"/>
                  </a:lnTo>
                  <a:lnTo>
                    <a:pt x="224332" y="194716"/>
                  </a:lnTo>
                  <a:lnTo>
                    <a:pt x="230124" y="200520"/>
                  </a:lnTo>
                  <a:lnTo>
                    <a:pt x="244436" y="200520"/>
                  </a:lnTo>
                  <a:lnTo>
                    <a:pt x="250240" y="194716"/>
                  </a:lnTo>
                  <a:lnTo>
                    <a:pt x="250240" y="187566"/>
                  </a:lnTo>
                  <a:lnTo>
                    <a:pt x="250240" y="180416"/>
                  </a:lnTo>
                  <a:close/>
                </a:path>
                <a:path w="474980" h="474980">
                  <a:moveTo>
                    <a:pt x="260832" y="356171"/>
                  </a:moveTo>
                  <a:lnTo>
                    <a:pt x="258991" y="347002"/>
                  </a:lnTo>
                  <a:lnTo>
                    <a:pt x="253936" y="339521"/>
                  </a:lnTo>
                  <a:lnTo>
                    <a:pt x="246456" y="334479"/>
                  </a:lnTo>
                  <a:lnTo>
                    <a:pt x="237274" y="332625"/>
                  </a:lnTo>
                  <a:lnTo>
                    <a:pt x="228117" y="334479"/>
                  </a:lnTo>
                  <a:lnTo>
                    <a:pt x="220624" y="339521"/>
                  </a:lnTo>
                  <a:lnTo>
                    <a:pt x="215582" y="347002"/>
                  </a:lnTo>
                  <a:lnTo>
                    <a:pt x="213728" y="356171"/>
                  </a:lnTo>
                  <a:lnTo>
                    <a:pt x="215582" y="365340"/>
                  </a:lnTo>
                  <a:lnTo>
                    <a:pt x="220624" y="372833"/>
                  </a:lnTo>
                  <a:lnTo>
                    <a:pt x="228117" y="377875"/>
                  </a:lnTo>
                  <a:lnTo>
                    <a:pt x="237274" y="379717"/>
                  </a:lnTo>
                  <a:lnTo>
                    <a:pt x="246456" y="377875"/>
                  </a:lnTo>
                  <a:lnTo>
                    <a:pt x="253936" y="372833"/>
                  </a:lnTo>
                  <a:lnTo>
                    <a:pt x="258991" y="365340"/>
                  </a:lnTo>
                  <a:lnTo>
                    <a:pt x="260832" y="356171"/>
                  </a:lnTo>
                  <a:close/>
                </a:path>
                <a:path w="474980" h="474980">
                  <a:moveTo>
                    <a:pt x="260845" y="118402"/>
                  </a:moveTo>
                  <a:lnTo>
                    <a:pt x="258991" y="109245"/>
                  </a:lnTo>
                  <a:lnTo>
                    <a:pt x="253936" y="101752"/>
                  </a:lnTo>
                  <a:lnTo>
                    <a:pt x="246456" y="96710"/>
                  </a:lnTo>
                  <a:lnTo>
                    <a:pt x="237286" y="94856"/>
                  </a:lnTo>
                  <a:lnTo>
                    <a:pt x="228117" y="96710"/>
                  </a:lnTo>
                  <a:lnTo>
                    <a:pt x="220637" y="101752"/>
                  </a:lnTo>
                  <a:lnTo>
                    <a:pt x="215582" y="109245"/>
                  </a:lnTo>
                  <a:lnTo>
                    <a:pt x="213728" y="118402"/>
                  </a:lnTo>
                  <a:lnTo>
                    <a:pt x="215582" y="127584"/>
                  </a:lnTo>
                  <a:lnTo>
                    <a:pt x="220637" y="135064"/>
                  </a:lnTo>
                  <a:lnTo>
                    <a:pt x="228117" y="140119"/>
                  </a:lnTo>
                  <a:lnTo>
                    <a:pt x="237286" y="141960"/>
                  </a:lnTo>
                  <a:lnTo>
                    <a:pt x="246456" y="140119"/>
                  </a:lnTo>
                  <a:lnTo>
                    <a:pt x="253936" y="135064"/>
                  </a:lnTo>
                  <a:lnTo>
                    <a:pt x="258991" y="127584"/>
                  </a:lnTo>
                  <a:lnTo>
                    <a:pt x="260845" y="118402"/>
                  </a:lnTo>
                  <a:close/>
                </a:path>
                <a:path w="474980" h="474980">
                  <a:moveTo>
                    <a:pt x="268693" y="443166"/>
                  </a:moveTo>
                  <a:lnTo>
                    <a:pt x="266230" y="430936"/>
                  </a:lnTo>
                  <a:lnTo>
                    <a:pt x="259499" y="420954"/>
                  </a:lnTo>
                  <a:lnTo>
                    <a:pt x="249516" y="414223"/>
                  </a:lnTo>
                  <a:lnTo>
                    <a:pt x="237286" y="411746"/>
                  </a:lnTo>
                  <a:lnTo>
                    <a:pt x="225069" y="414223"/>
                  </a:lnTo>
                  <a:lnTo>
                    <a:pt x="215074" y="420954"/>
                  </a:lnTo>
                  <a:lnTo>
                    <a:pt x="208343" y="430936"/>
                  </a:lnTo>
                  <a:lnTo>
                    <a:pt x="205879" y="443166"/>
                  </a:lnTo>
                  <a:lnTo>
                    <a:pt x="208343" y="455396"/>
                  </a:lnTo>
                  <a:lnTo>
                    <a:pt x="215074" y="465378"/>
                  </a:lnTo>
                  <a:lnTo>
                    <a:pt x="225069" y="472109"/>
                  </a:lnTo>
                  <a:lnTo>
                    <a:pt x="237286" y="474573"/>
                  </a:lnTo>
                  <a:lnTo>
                    <a:pt x="249516" y="472109"/>
                  </a:lnTo>
                  <a:lnTo>
                    <a:pt x="259499" y="465378"/>
                  </a:lnTo>
                  <a:lnTo>
                    <a:pt x="266230" y="455396"/>
                  </a:lnTo>
                  <a:lnTo>
                    <a:pt x="268693" y="443166"/>
                  </a:lnTo>
                  <a:close/>
                </a:path>
                <a:path w="474980" h="474980">
                  <a:moveTo>
                    <a:pt x="268693" y="31419"/>
                  </a:moveTo>
                  <a:lnTo>
                    <a:pt x="266230" y="19189"/>
                  </a:lnTo>
                  <a:lnTo>
                    <a:pt x="259486" y="9207"/>
                  </a:lnTo>
                  <a:lnTo>
                    <a:pt x="249504" y="2476"/>
                  </a:lnTo>
                  <a:lnTo>
                    <a:pt x="237274" y="0"/>
                  </a:lnTo>
                  <a:lnTo>
                    <a:pt x="225056" y="2476"/>
                  </a:lnTo>
                  <a:lnTo>
                    <a:pt x="215074" y="9207"/>
                  </a:lnTo>
                  <a:lnTo>
                    <a:pt x="208343" y="19189"/>
                  </a:lnTo>
                  <a:lnTo>
                    <a:pt x="205879" y="31419"/>
                  </a:lnTo>
                  <a:lnTo>
                    <a:pt x="208343" y="43649"/>
                  </a:lnTo>
                  <a:lnTo>
                    <a:pt x="215074" y="53632"/>
                  </a:lnTo>
                  <a:lnTo>
                    <a:pt x="225056" y="60363"/>
                  </a:lnTo>
                  <a:lnTo>
                    <a:pt x="237274" y="62826"/>
                  </a:lnTo>
                  <a:lnTo>
                    <a:pt x="249504" y="60363"/>
                  </a:lnTo>
                  <a:lnTo>
                    <a:pt x="259486" y="53632"/>
                  </a:lnTo>
                  <a:lnTo>
                    <a:pt x="266230" y="43649"/>
                  </a:lnTo>
                  <a:lnTo>
                    <a:pt x="268693" y="31419"/>
                  </a:lnTo>
                  <a:close/>
                </a:path>
                <a:path w="474980" h="474980">
                  <a:moveTo>
                    <a:pt x="295148" y="262432"/>
                  </a:moveTo>
                  <a:lnTo>
                    <a:pt x="293027" y="254508"/>
                  </a:lnTo>
                  <a:lnTo>
                    <a:pt x="280631" y="247357"/>
                  </a:lnTo>
                  <a:lnTo>
                    <a:pt x="272707" y="249478"/>
                  </a:lnTo>
                  <a:lnTo>
                    <a:pt x="265544" y="261874"/>
                  </a:lnTo>
                  <a:lnTo>
                    <a:pt x="267677" y="269798"/>
                  </a:lnTo>
                  <a:lnTo>
                    <a:pt x="273875" y="273380"/>
                  </a:lnTo>
                  <a:lnTo>
                    <a:pt x="280073" y="276961"/>
                  </a:lnTo>
                  <a:lnTo>
                    <a:pt x="287985" y="274828"/>
                  </a:lnTo>
                  <a:lnTo>
                    <a:pt x="295148" y="262432"/>
                  </a:lnTo>
                  <a:close/>
                </a:path>
                <a:path w="474980" h="474980">
                  <a:moveTo>
                    <a:pt x="295148" y="212153"/>
                  </a:moveTo>
                  <a:lnTo>
                    <a:pt x="287985" y="199758"/>
                  </a:lnTo>
                  <a:lnTo>
                    <a:pt x="280073" y="197624"/>
                  </a:lnTo>
                  <a:lnTo>
                    <a:pt x="267677" y="204774"/>
                  </a:lnTo>
                  <a:lnTo>
                    <a:pt x="265557" y="212699"/>
                  </a:lnTo>
                  <a:lnTo>
                    <a:pt x="272707" y="225107"/>
                  </a:lnTo>
                  <a:lnTo>
                    <a:pt x="280631" y="227228"/>
                  </a:lnTo>
                  <a:lnTo>
                    <a:pt x="286829" y="223647"/>
                  </a:lnTo>
                  <a:lnTo>
                    <a:pt x="293027" y="220065"/>
                  </a:lnTo>
                  <a:lnTo>
                    <a:pt x="295148" y="212153"/>
                  </a:lnTo>
                  <a:close/>
                </a:path>
                <a:path w="474980" h="474980">
                  <a:moveTo>
                    <a:pt x="344893" y="153225"/>
                  </a:moveTo>
                  <a:lnTo>
                    <a:pt x="343179" y="144360"/>
                  </a:lnTo>
                  <a:lnTo>
                    <a:pt x="338010" y="136575"/>
                  </a:lnTo>
                  <a:lnTo>
                    <a:pt x="330212" y="131394"/>
                  </a:lnTo>
                  <a:lnTo>
                    <a:pt x="321348" y="129667"/>
                  </a:lnTo>
                  <a:lnTo>
                    <a:pt x="312483" y="131394"/>
                  </a:lnTo>
                  <a:lnTo>
                    <a:pt x="304698" y="136575"/>
                  </a:lnTo>
                  <a:lnTo>
                    <a:pt x="299516" y="144360"/>
                  </a:lnTo>
                  <a:lnTo>
                    <a:pt x="297789" y="153225"/>
                  </a:lnTo>
                  <a:lnTo>
                    <a:pt x="299516" y="162090"/>
                  </a:lnTo>
                  <a:lnTo>
                    <a:pt x="304698" y="169887"/>
                  </a:lnTo>
                  <a:lnTo>
                    <a:pt x="312483" y="175056"/>
                  </a:lnTo>
                  <a:lnTo>
                    <a:pt x="321348" y="176784"/>
                  </a:lnTo>
                  <a:lnTo>
                    <a:pt x="330212" y="175056"/>
                  </a:lnTo>
                  <a:lnTo>
                    <a:pt x="338010" y="169887"/>
                  </a:lnTo>
                  <a:lnTo>
                    <a:pt x="343179" y="162090"/>
                  </a:lnTo>
                  <a:lnTo>
                    <a:pt x="344893" y="153225"/>
                  </a:lnTo>
                  <a:close/>
                </a:path>
                <a:path w="474980" h="474980">
                  <a:moveTo>
                    <a:pt x="344906" y="321348"/>
                  </a:moveTo>
                  <a:lnTo>
                    <a:pt x="343179" y="312496"/>
                  </a:lnTo>
                  <a:lnTo>
                    <a:pt x="337997" y="304698"/>
                  </a:lnTo>
                  <a:lnTo>
                    <a:pt x="330212" y="299529"/>
                  </a:lnTo>
                  <a:lnTo>
                    <a:pt x="321348" y="297802"/>
                  </a:lnTo>
                  <a:lnTo>
                    <a:pt x="312483" y="299529"/>
                  </a:lnTo>
                  <a:lnTo>
                    <a:pt x="304698" y="304698"/>
                  </a:lnTo>
                  <a:lnTo>
                    <a:pt x="299516" y="312496"/>
                  </a:lnTo>
                  <a:lnTo>
                    <a:pt x="297802" y="321348"/>
                  </a:lnTo>
                  <a:lnTo>
                    <a:pt x="299516" y="330212"/>
                  </a:lnTo>
                  <a:lnTo>
                    <a:pt x="304698" y="338010"/>
                  </a:lnTo>
                  <a:lnTo>
                    <a:pt x="312483" y="343179"/>
                  </a:lnTo>
                  <a:lnTo>
                    <a:pt x="321348" y="344906"/>
                  </a:lnTo>
                  <a:lnTo>
                    <a:pt x="330212" y="343179"/>
                  </a:lnTo>
                  <a:lnTo>
                    <a:pt x="337997" y="338010"/>
                  </a:lnTo>
                  <a:lnTo>
                    <a:pt x="343179" y="330212"/>
                  </a:lnTo>
                  <a:lnTo>
                    <a:pt x="344906" y="321348"/>
                  </a:lnTo>
                  <a:close/>
                </a:path>
                <a:path w="474980" h="474980">
                  <a:moveTo>
                    <a:pt x="371398" y="411695"/>
                  </a:moveTo>
                  <a:lnTo>
                    <a:pt x="367423" y="399872"/>
                  </a:lnTo>
                  <a:lnTo>
                    <a:pt x="359168" y="390525"/>
                  </a:lnTo>
                  <a:lnTo>
                    <a:pt x="348348" y="385241"/>
                  </a:lnTo>
                  <a:lnTo>
                    <a:pt x="336346" y="384403"/>
                  </a:lnTo>
                  <a:lnTo>
                    <a:pt x="324523" y="388391"/>
                  </a:lnTo>
                  <a:lnTo>
                    <a:pt x="315163" y="396633"/>
                  </a:lnTo>
                  <a:lnTo>
                    <a:pt x="309880" y="407454"/>
                  </a:lnTo>
                  <a:lnTo>
                    <a:pt x="309054" y="419468"/>
                  </a:lnTo>
                  <a:lnTo>
                    <a:pt x="313016" y="431292"/>
                  </a:lnTo>
                  <a:lnTo>
                    <a:pt x="321271" y="440639"/>
                  </a:lnTo>
                  <a:lnTo>
                    <a:pt x="332092" y="445922"/>
                  </a:lnTo>
                  <a:lnTo>
                    <a:pt x="344106" y="446760"/>
                  </a:lnTo>
                  <a:lnTo>
                    <a:pt x="355917" y="442785"/>
                  </a:lnTo>
                  <a:lnTo>
                    <a:pt x="365277" y="434530"/>
                  </a:lnTo>
                  <a:lnTo>
                    <a:pt x="370560" y="423710"/>
                  </a:lnTo>
                  <a:lnTo>
                    <a:pt x="371398" y="411695"/>
                  </a:lnTo>
                  <a:close/>
                </a:path>
                <a:path w="474980" h="474980">
                  <a:moveTo>
                    <a:pt x="371398" y="62877"/>
                  </a:moveTo>
                  <a:lnTo>
                    <a:pt x="370560" y="50863"/>
                  </a:lnTo>
                  <a:lnTo>
                    <a:pt x="365277" y="40055"/>
                  </a:lnTo>
                  <a:lnTo>
                    <a:pt x="355930" y="31800"/>
                  </a:lnTo>
                  <a:lnTo>
                    <a:pt x="344106" y="27825"/>
                  </a:lnTo>
                  <a:lnTo>
                    <a:pt x="332092" y="28663"/>
                  </a:lnTo>
                  <a:lnTo>
                    <a:pt x="321271" y="33934"/>
                  </a:lnTo>
                  <a:lnTo>
                    <a:pt x="313029" y="43294"/>
                  </a:lnTo>
                  <a:lnTo>
                    <a:pt x="309054" y="55118"/>
                  </a:lnTo>
                  <a:lnTo>
                    <a:pt x="309892" y="67132"/>
                  </a:lnTo>
                  <a:lnTo>
                    <a:pt x="315163" y="77952"/>
                  </a:lnTo>
                  <a:lnTo>
                    <a:pt x="324523" y="86194"/>
                  </a:lnTo>
                  <a:lnTo>
                    <a:pt x="336346" y="90170"/>
                  </a:lnTo>
                  <a:lnTo>
                    <a:pt x="348348" y="89331"/>
                  </a:lnTo>
                  <a:lnTo>
                    <a:pt x="359168" y="84061"/>
                  </a:lnTo>
                  <a:lnTo>
                    <a:pt x="367423" y="74701"/>
                  </a:lnTo>
                  <a:lnTo>
                    <a:pt x="371398" y="62877"/>
                  </a:lnTo>
                  <a:close/>
                </a:path>
                <a:path w="474980" h="474980">
                  <a:moveTo>
                    <a:pt x="379717" y="237286"/>
                  </a:moveTo>
                  <a:lnTo>
                    <a:pt x="377863" y="228117"/>
                  </a:lnTo>
                  <a:lnTo>
                    <a:pt x="372821" y="220637"/>
                  </a:lnTo>
                  <a:lnTo>
                    <a:pt x="365340" y="215582"/>
                  </a:lnTo>
                  <a:lnTo>
                    <a:pt x="356171" y="213741"/>
                  </a:lnTo>
                  <a:lnTo>
                    <a:pt x="347002" y="215582"/>
                  </a:lnTo>
                  <a:lnTo>
                    <a:pt x="339509" y="220637"/>
                  </a:lnTo>
                  <a:lnTo>
                    <a:pt x="334467" y="228117"/>
                  </a:lnTo>
                  <a:lnTo>
                    <a:pt x="332625" y="237286"/>
                  </a:lnTo>
                  <a:lnTo>
                    <a:pt x="334467" y="246456"/>
                  </a:lnTo>
                  <a:lnTo>
                    <a:pt x="339509" y="253949"/>
                  </a:lnTo>
                  <a:lnTo>
                    <a:pt x="347002" y="258991"/>
                  </a:lnTo>
                  <a:lnTo>
                    <a:pt x="356171" y="260845"/>
                  </a:lnTo>
                  <a:lnTo>
                    <a:pt x="365340" y="258991"/>
                  </a:lnTo>
                  <a:lnTo>
                    <a:pt x="372821" y="253949"/>
                  </a:lnTo>
                  <a:lnTo>
                    <a:pt x="377863" y="246456"/>
                  </a:lnTo>
                  <a:lnTo>
                    <a:pt x="379717" y="237286"/>
                  </a:lnTo>
                  <a:close/>
                </a:path>
                <a:path w="474980" h="474980">
                  <a:moveTo>
                    <a:pt x="446747" y="344106"/>
                  </a:moveTo>
                  <a:lnTo>
                    <a:pt x="445909" y="332092"/>
                  </a:lnTo>
                  <a:lnTo>
                    <a:pt x="440639" y="321284"/>
                  </a:lnTo>
                  <a:lnTo>
                    <a:pt x="431292" y="313029"/>
                  </a:lnTo>
                  <a:lnTo>
                    <a:pt x="419468" y="309054"/>
                  </a:lnTo>
                  <a:lnTo>
                    <a:pt x="407454" y="309892"/>
                  </a:lnTo>
                  <a:lnTo>
                    <a:pt x="396621" y="315175"/>
                  </a:lnTo>
                  <a:lnTo>
                    <a:pt x="388378" y="324523"/>
                  </a:lnTo>
                  <a:lnTo>
                    <a:pt x="384403" y="336346"/>
                  </a:lnTo>
                  <a:lnTo>
                    <a:pt x="385241" y="348361"/>
                  </a:lnTo>
                  <a:lnTo>
                    <a:pt x="390525" y="359181"/>
                  </a:lnTo>
                  <a:lnTo>
                    <a:pt x="399872" y="367423"/>
                  </a:lnTo>
                  <a:lnTo>
                    <a:pt x="411695" y="371398"/>
                  </a:lnTo>
                  <a:lnTo>
                    <a:pt x="423710" y="370560"/>
                  </a:lnTo>
                  <a:lnTo>
                    <a:pt x="434530" y="365290"/>
                  </a:lnTo>
                  <a:lnTo>
                    <a:pt x="442772" y="355930"/>
                  </a:lnTo>
                  <a:lnTo>
                    <a:pt x="446747" y="344106"/>
                  </a:lnTo>
                  <a:close/>
                </a:path>
                <a:path w="474980" h="474980">
                  <a:moveTo>
                    <a:pt x="446747" y="130467"/>
                  </a:moveTo>
                  <a:lnTo>
                    <a:pt x="442772" y="118656"/>
                  </a:lnTo>
                  <a:lnTo>
                    <a:pt x="434530" y="109296"/>
                  </a:lnTo>
                  <a:lnTo>
                    <a:pt x="423710" y="104025"/>
                  </a:lnTo>
                  <a:lnTo>
                    <a:pt x="411695" y="103187"/>
                  </a:lnTo>
                  <a:lnTo>
                    <a:pt x="399872" y="107162"/>
                  </a:lnTo>
                  <a:lnTo>
                    <a:pt x="390525" y="115404"/>
                  </a:lnTo>
                  <a:lnTo>
                    <a:pt x="385241" y="126225"/>
                  </a:lnTo>
                  <a:lnTo>
                    <a:pt x="384403" y="138239"/>
                  </a:lnTo>
                  <a:lnTo>
                    <a:pt x="388378" y="150050"/>
                  </a:lnTo>
                  <a:lnTo>
                    <a:pt x="396633" y="159410"/>
                  </a:lnTo>
                  <a:lnTo>
                    <a:pt x="407454" y="164693"/>
                  </a:lnTo>
                  <a:lnTo>
                    <a:pt x="419455" y="165531"/>
                  </a:lnTo>
                  <a:lnTo>
                    <a:pt x="431279" y="161556"/>
                  </a:lnTo>
                  <a:lnTo>
                    <a:pt x="440639" y="153301"/>
                  </a:lnTo>
                  <a:lnTo>
                    <a:pt x="445909" y="142481"/>
                  </a:lnTo>
                  <a:lnTo>
                    <a:pt x="446747" y="130467"/>
                  </a:lnTo>
                  <a:close/>
                </a:path>
                <a:path w="474980" h="474980">
                  <a:moveTo>
                    <a:pt x="474573" y="237286"/>
                  </a:moveTo>
                  <a:lnTo>
                    <a:pt x="472109" y="225069"/>
                  </a:lnTo>
                  <a:lnTo>
                    <a:pt x="465366" y="215087"/>
                  </a:lnTo>
                  <a:lnTo>
                    <a:pt x="455383" y="208356"/>
                  </a:lnTo>
                  <a:lnTo>
                    <a:pt x="443153" y="205879"/>
                  </a:lnTo>
                  <a:lnTo>
                    <a:pt x="430936" y="208356"/>
                  </a:lnTo>
                  <a:lnTo>
                    <a:pt x="420941" y="215087"/>
                  </a:lnTo>
                  <a:lnTo>
                    <a:pt x="414210" y="225069"/>
                  </a:lnTo>
                  <a:lnTo>
                    <a:pt x="411746" y="237286"/>
                  </a:lnTo>
                  <a:lnTo>
                    <a:pt x="414210" y="249516"/>
                  </a:lnTo>
                  <a:lnTo>
                    <a:pt x="420941" y="259499"/>
                  </a:lnTo>
                  <a:lnTo>
                    <a:pt x="430936" y="266230"/>
                  </a:lnTo>
                  <a:lnTo>
                    <a:pt x="443153" y="268693"/>
                  </a:lnTo>
                  <a:lnTo>
                    <a:pt x="455383" y="266230"/>
                  </a:lnTo>
                  <a:lnTo>
                    <a:pt x="465366" y="259499"/>
                  </a:lnTo>
                  <a:lnTo>
                    <a:pt x="472109" y="249516"/>
                  </a:lnTo>
                  <a:lnTo>
                    <a:pt x="474573" y="237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448D2BD-D77D-EB95-A3BD-E8EACBE11735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  <a:solidFill>
            <a:schemeClr val="bg1"/>
          </a:solidFill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66B137A-A3B9-10EC-BDFC-F457D1BE89BC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DB0A5771-3B2C-E16E-54E8-2560C21CFB6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96220687-5C92-6FEA-A66B-D21487EA1EC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AF08858-14F0-2ED0-FE94-5D1148037BAD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CC41A12C-F34B-72EB-2013-599B949D191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7D93C8E5-0A09-9DE8-137C-E66BF4F4295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9" name="object 3">
            <a:extLst>
              <a:ext uri="{FF2B5EF4-FFF2-40B4-BE49-F238E27FC236}">
                <a16:creationId xmlns:a16="http://schemas.microsoft.com/office/drawing/2014/main" id="{AB9422F4-0321-8ECA-0D22-010A3CA0EA84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4EFCDD42-353B-AEC3-8938-F3078F9E25B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22195" y="6226475"/>
            <a:ext cx="11327045" cy="334662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280397370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D6047-A25C-7D70-1F8B-67AEFAF6A4E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59" y="1763713"/>
            <a:ext cx="5472000" cy="4329112"/>
          </a:xfrm>
          <a:prstGeom prst="roundRect">
            <a:avLst>
              <a:gd name="adj" fmla="val 2948"/>
            </a:avLst>
          </a:prstGeom>
          <a:solidFill>
            <a:schemeClr val="bg2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15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1153525"/>
            <a:ext cx="77757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2E8299F-10C0-3D54-F5EA-775E5DDC85E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81394" y="1763713"/>
            <a:ext cx="5472000" cy="4329112"/>
          </a:xfrm>
          <a:prstGeom prst="roundRect">
            <a:avLst>
              <a:gd name="adj" fmla="val 2948"/>
            </a:avLst>
          </a:prstGeom>
          <a:solidFill>
            <a:schemeClr val="accent3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buSzPct val="120000"/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 algn="ctr">
              <a:buSzPct val="130000"/>
              <a:buFont typeface="Wingdings" panose="05000000000000000000" pitchFamily="2" charset="2"/>
              <a:buChar char=""/>
              <a:defRPr sz="15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A0C58-032A-7969-BB75-BF5E019A1BB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22195" y="6089950"/>
            <a:ext cx="11327045" cy="47118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377944065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D6047-A25C-7D70-1F8B-67AEFAF6A4E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1763713"/>
            <a:ext cx="3603951" cy="4329112"/>
          </a:xfrm>
          <a:prstGeom prst="roundRect">
            <a:avLst>
              <a:gd name="adj" fmla="val 2997"/>
            </a:avLst>
          </a:prstGeom>
          <a:solidFill>
            <a:schemeClr val="bg2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22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1153525"/>
            <a:ext cx="77757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C5C5BE2-57B5-23E6-6993-424A270A025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298711" y="1763713"/>
            <a:ext cx="3603951" cy="4329112"/>
          </a:xfrm>
          <a:prstGeom prst="roundRect">
            <a:avLst>
              <a:gd name="adj" fmla="val 2997"/>
            </a:avLst>
          </a:prstGeom>
          <a:solidFill>
            <a:schemeClr val="accent3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22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5645987-F1E1-FFB1-1261-05C45635E9C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154662" y="1763713"/>
            <a:ext cx="3603951" cy="4329112"/>
          </a:xfrm>
          <a:prstGeom prst="roundRect">
            <a:avLst>
              <a:gd name="adj" fmla="val 2997"/>
            </a:avLst>
          </a:prstGeom>
          <a:solidFill>
            <a:schemeClr val="accent4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22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16554636-0663-6A92-BC1D-E8CC78B2C19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2195" y="6089950"/>
            <a:ext cx="11327045" cy="47118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15762200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lumn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D6047-A25C-7D70-1F8B-67AEFAF6A4E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1763713"/>
            <a:ext cx="5567927" cy="2065562"/>
          </a:xfrm>
          <a:prstGeom prst="roundRect">
            <a:avLst>
              <a:gd name="adj" fmla="val 4820"/>
            </a:avLst>
          </a:prstGeom>
          <a:solidFill>
            <a:schemeClr val="bg2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22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3"/>
            <a:r>
              <a:rPr lang="en-US" dirty="0"/>
              <a:t>Intro text 26pt </a:t>
            </a:r>
          </a:p>
          <a:p>
            <a:pPr lvl="4"/>
            <a:r>
              <a:rPr lang="en-US" dirty="0"/>
              <a:t>Bold Copy 15pt</a:t>
            </a:r>
          </a:p>
          <a:p>
            <a:pPr lvl="5"/>
            <a:r>
              <a:rPr lang="en-US" dirty="0"/>
              <a:t>Nested Bullet 15pt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1153525"/>
            <a:ext cx="77757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0916EF3-F32B-36D6-870D-105D25A4893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190687" y="1763713"/>
            <a:ext cx="5567927" cy="2065562"/>
          </a:xfrm>
          <a:prstGeom prst="roundRect">
            <a:avLst>
              <a:gd name="adj" fmla="val 4820"/>
            </a:avLst>
          </a:prstGeom>
          <a:solidFill>
            <a:schemeClr val="accent4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22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3"/>
            <a:r>
              <a:rPr lang="en-US" dirty="0"/>
              <a:t>Intro text 26pt </a:t>
            </a:r>
          </a:p>
          <a:p>
            <a:pPr lvl="4"/>
            <a:r>
              <a:rPr lang="en-US" dirty="0"/>
              <a:t>Bold Copy 15pt</a:t>
            </a:r>
          </a:p>
          <a:p>
            <a:pPr lvl="5"/>
            <a:r>
              <a:rPr lang="en-US" dirty="0"/>
              <a:t>Nested Bullet 15ptp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B66A822-F2EE-A387-37D3-4DEA44253A6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42760" y="3974360"/>
            <a:ext cx="5567927" cy="2065562"/>
          </a:xfrm>
          <a:prstGeom prst="roundRect">
            <a:avLst>
              <a:gd name="adj" fmla="val 4820"/>
            </a:avLst>
          </a:prstGeom>
          <a:solidFill>
            <a:schemeClr val="accent5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22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3"/>
            <a:r>
              <a:rPr lang="en-US" dirty="0"/>
              <a:t>Intro text 26pt </a:t>
            </a:r>
          </a:p>
          <a:p>
            <a:pPr lvl="4"/>
            <a:r>
              <a:rPr lang="en-US" dirty="0"/>
              <a:t>Bold Copy 15pt</a:t>
            </a:r>
          </a:p>
          <a:p>
            <a:pPr lvl="5"/>
            <a:r>
              <a:rPr lang="en-US" dirty="0"/>
              <a:t>Nested Bullet 15ptp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D46D81F-3D77-5E1E-E8C0-7DF536F50CD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190687" y="3974360"/>
            <a:ext cx="5567927" cy="2065562"/>
          </a:xfrm>
          <a:prstGeom prst="roundRect">
            <a:avLst>
              <a:gd name="adj" fmla="val 4820"/>
            </a:avLst>
          </a:prstGeom>
          <a:solidFill>
            <a:schemeClr val="accent3"/>
          </a:solidFill>
        </p:spPr>
        <p:txBody>
          <a:bodyPr lIns="360000" tIns="360000" rIns="360000" bIns="360000" anchor="ctr"/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22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3"/>
            <a:r>
              <a:rPr lang="en-US" dirty="0"/>
              <a:t>Intro text 26pt </a:t>
            </a:r>
          </a:p>
          <a:p>
            <a:pPr lvl="4"/>
            <a:r>
              <a:rPr lang="en-US" dirty="0"/>
              <a:t>Bold Copy 15pt</a:t>
            </a:r>
          </a:p>
          <a:p>
            <a:pPr lvl="5"/>
            <a:r>
              <a:rPr lang="en-US" dirty="0"/>
              <a:t>Nested Bullet 15ptp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EF657FC-3E5E-B57F-E0EF-3F539CE4D74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2195" y="6089950"/>
            <a:ext cx="11327045" cy="47118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207304615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nd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EFB55CEC-C705-64BD-19ED-92185284C32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4459848"/>
            <a:ext cx="4591203" cy="1331912"/>
          </a:xfrm>
          <a:prstGeom prst="rect">
            <a:avLst/>
          </a:prstGeom>
          <a:noFill/>
        </p:spPr>
        <p:txBody>
          <a:bodyPr wrap="square" lIns="360000" tIns="360000" rIns="360000" bIns="360000" anchor="ctr">
            <a:noAutofit/>
          </a:bodyPr>
          <a:lstStyle>
            <a:lvl1pPr algn="ctr">
              <a:defRPr>
                <a:latin typeface="+mn-lt"/>
              </a:defRPr>
            </a:lvl1pPr>
            <a:lvl2pPr algn="ctr">
              <a:defRPr>
                <a:latin typeface="+mn-lt"/>
              </a:defRPr>
            </a:lvl2pPr>
            <a:lvl3pPr algn="ctr">
              <a:defRPr b="1">
                <a:latin typeface="+mn-lt"/>
              </a:defRPr>
            </a:lvl3pPr>
            <a:lvl4pPr algn="ctr">
              <a:defRPr>
                <a:latin typeface="+mn-lt"/>
              </a:defRPr>
            </a:lvl4pPr>
            <a:lvl5pPr algn="ctr"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algn="ctr">
              <a:defRPr sz="1500"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59" y="1153525"/>
            <a:ext cx="77757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3F131363-B243-5336-A49C-AF246E14DB24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683437" y="1984313"/>
            <a:ext cx="2109849" cy="2109850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86F56996-6BA2-81A1-4733-F1F3E5CC540A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250730" y="1763713"/>
            <a:ext cx="6498512" cy="4028047"/>
          </a:xfrm>
          <a:prstGeom prst="rect">
            <a:avLst/>
          </a:prstGeom>
          <a:noFill/>
        </p:spPr>
        <p:txBody>
          <a:bodyPr lIns="360000" tIns="360000" rIns="360000" bIns="360000" anchor="ctr"/>
          <a:lstStyle>
            <a:lvl1pPr marL="263525" indent="0">
              <a:defRPr>
                <a:latin typeface="+mn-lt"/>
              </a:defRPr>
            </a:lvl1pPr>
            <a:lvl2pPr marL="442913" indent="-179388">
              <a:defRPr>
                <a:latin typeface="+mn-lt"/>
              </a:defRPr>
            </a:lvl2pPr>
            <a:lvl3pPr marL="263525" indent="0">
              <a:defRPr>
                <a:latin typeface="+mn-lt"/>
              </a:defRPr>
            </a:lvl3pPr>
            <a:lvl4pPr marL="263525" indent="-263525">
              <a:buSzPct val="100000"/>
              <a:buFont typeface="UKCEH Suisse" panose="020B0504000000000000" pitchFamily="34" charset="-78"/>
              <a:buChar char="•"/>
              <a:defRPr>
                <a:latin typeface="+mn-lt"/>
              </a:defRPr>
            </a:lvl4pPr>
            <a:lvl5pPr marL="263525" indent="0">
              <a:defRPr b="1">
                <a:latin typeface="+mn-lt"/>
              </a:defRPr>
            </a:lvl5pPr>
            <a:lvl6pPr marL="263525" indent="0">
              <a:defRPr>
                <a:latin typeface="+mn-lt"/>
              </a:defRPr>
            </a:lvl6pPr>
            <a:lvl7pPr marL="263525" indent="0">
              <a:defRPr>
                <a:latin typeface="+mn-lt"/>
              </a:defRPr>
            </a:lvl7pPr>
            <a:lvl8pPr marL="263525" indent="0">
              <a:defRPr>
                <a:latin typeface="+mn-lt"/>
              </a:defRPr>
            </a:lvl8pPr>
            <a:lvl9pPr marL="263525" indent="0">
              <a:defRPr>
                <a:latin typeface="+mn-lt"/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361BFE-9A3D-D260-691F-1D574AF3E701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2195" y="6089950"/>
            <a:ext cx="11327045" cy="47118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3722574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object 10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096000" y="532340"/>
            <a:ext cx="6095565" cy="6325178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EC763B1-4CBB-9747-FBB3-F524D99EF5C8}"/>
              </a:ext>
            </a:extLst>
          </p:cNvPr>
          <p:cNvGrpSpPr/>
          <p:nvPr userDrawn="1"/>
        </p:nvGrpSpPr>
        <p:grpSpPr>
          <a:xfrm>
            <a:off x="143595" y="135785"/>
            <a:ext cx="1089185" cy="288028"/>
            <a:chOff x="143595" y="135785"/>
            <a:chExt cx="1089185" cy="288028"/>
          </a:xfrm>
          <a:solidFill>
            <a:schemeClr val="bg1"/>
          </a:solidFill>
        </p:grpSpPr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11BC098D-8670-1613-A0B1-8B6FCABEC146}"/>
                </a:ext>
              </a:extLst>
            </p:cNvPr>
            <p:cNvSpPr/>
            <p:nvPr userDrawn="1"/>
          </p:nvSpPr>
          <p:spPr>
            <a:xfrm>
              <a:off x="478824" y="191457"/>
              <a:ext cx="753956" cy="175204"/>
            </a:xfrm>
            <a:custGeom>
              <a:avLst/>
              <a:gdLst/>
              <a:ahLst/>
              <a:cxnLst/>
              <a:rect l="l" t="t" r="r" b="b"/>
              <a:pathLst>
                <a:path w="1243330" h="288925">
                  <a:moveTo>
                    <a:pt x="39223" y="4994"/>
                  </a:moveTo>
                  <a:lnTo>
                    <a:pt x="0" y="4994"/>
                  </a:lnTo>
                  <a:lnTo>
                    <a:pt x="0" y="170361"/>
                  </a:lnTo>
                  <a:lnTo>
                    <a:pt x="6495" y="225537"/>
                  </a:lnTo>
                  <a:lnTo>
                    <a:pt x="26582" y="262179"/>
                  </a:lnTo>
                  <a:lnTo>
                    <a:pt x="61163" y="282523"/>
                  </a:lnTo>
                  <a:lnTo>
                    <a:pt x="111137" y="288807"/>
                  </a:lnTo>
                  <a:lnTo>
                    <a:pt x="162919" y="281285"/>
                  </a:lnTo>
                  <a:lnTo>
                    <a:pt x="197719" y="258621"/>
                  </a:lnTo>
                  <a:lnTo>
                    <a:pt x="199605" y="254966"/>
                  </a:lnTo>
                  <a:lnTo>
                    <a:pt x="111137" y="254966"/>
                  </a:lnTo>
                  <a:lnTo>
                    <a:pt x="77840" y="250140"/>
                  </a:lnTo>
                  <a:lnTo>
                    <a:pt x="55571" y="235401"/>
                  </a:lnTo>
                  <a:lnTo>
                    <a:pt x="43106" y="210350"/>
                  </a:lnTo>
                  <a:lnTo>
                    <a:pt x="39223" y="174591"/>
                  </a:lnTo>
                  <a:lnTo>
                    <a:pt x="39223" y="4994"/>
                  </a:lnTo>
                  <a:close/>
                </a:path>
                <a:path w="1243330" h="288925">
                  <a:moveTo>
                    <a:pt x="223438" y="4994"/>
                  </a:moveTo>
                  <a:lnTo>
                    <a:pt x="184214" y="4994"/>
                  </a:lnTo>
                  <a:lnTo>
                    <a:pt x="184214" y="170361"/>
                  </a:lnTo>
                  <a:lnTo>
                    <a:pt x="180314" y="206781"/>
                  </a:lnTo>
                  <a:lnTo>
                    <a:pt x="167725" y="233286"/>
                  </a:lnTo>
                  <a:lnTo>
                    <a:pt x="145111" y="249479"/>
                  </a:lnTo>
                  <a:lnTo>
                    <a:pt x="111137" y="254966"/>
                  </a:lnTo>
                  <a:lnTo>
                    <a:pt x="199605" y="254966"/>
                  </a:lnTo>
                  <a:lnTo>
                    <a:pt x="217302" y="220669"/>
                  </a:lnTo>
                  <a:lnTo>
                    <a:pt x="223438" y="167282"/>
                  </a:lnTo>
                  <a:lnTo>
                    <a:pt x="223438" y="4994"/>
                  </a:lnTo>
                  <a:close/>
                </a:path>
                <a:path w="1243330" h="288925">
                  <a:moveTo>
                    <a:pt x="313037" y="4994"/>
                  </a:moveTo>
                  <a:lnTo>
                    <a:pt x="273813" y="4994"/>
                  </a:lnTo>
                  <a:lnTo>
                    <a:pt x="273813" y="283802"/>
                  </a:lnTo>
                  <a:lnTo>
                    <a:pt x="313037" y="283802"/>
                  </a:lnTo>
                  <a:lnTo>
                    <a:pt x="313037" y="196130"/>
                  </a:lnTo>
                  <a:lnTo>
                    <a:pt x="356879" y="147670"/>
                  </a:lnTo>
                  <a:lnTo>
                    <a:pt x="403714" y="147670"/>
                  </a:lnTo>
                  <a:lnTo>
                    <a:pt x="402092" y="145367"/>
                  </a:lnTo>
                  <a:lnTo>
                    <a:pt x="313037" y="145367"/>
                  </a:lnTo>
                  <a:lnTo>
                    <a:pt x="313037" y="4994"/>
                  </a:lnTo>
                  <a:close/>
                </a:path>
                <a:path w="1243330" h="288925">
                  <a:moveTo>
                    <a:pt x="403714" y="147670"/>
                  </a:moveTo>
                  <a:lnTo>
                    <a:pt x="356879" y="147670"/>
                  </a:lnTo>
                  <a:lnTo>
                    <a:pt x="452635" y="283802"/>
                  </a:lnTo>
                  <a:lnTo>
                    <a:pt x="499555" y="283802"/>
                  </a:lnTo>
                  <a:lnTo>
                    <a:pt x="403714" y="147670"/>
                  </a:lnTo>
                  <a:close/>
                </a:path>
                <a:path w="1243330" h="288925">
                  <a:moveTo>
                    <a:pt x="487639" y="4994"/>
                  </a:moveTo>
                  <a:lnTo>
                    <a:pt x="438792" y="4994"/>
                  </a:lnTo>
                  <a:lnTo>
                    <a:pt x="313037" y="145367"/>
                  </a:lnTo>
                  <a:lnTo>
                    <a:pt x="402092" y="145367"/>
                  </a:lnTo>
                  <a:lnTo>
                    <a:pt x="383412" y="118834"/>
                  </a:lnTo>
                  <a:lnTo>
                    <a:pt x="487639" y="4994"/>
                  </a:lnTo>
                  <a:close/>
                </a:path>
                <a:path w="1243330" h="288925">
                  <a:moveTo>
                    <a:pt x="630692" y="0"/>
                  </a:moveTo>
                  <a:lnTo>
                    <a:pt x="587086" y="6688"/>
                  </a:lnTo>
                  <a:lnTo>
                    <a:pt x="551180" y="25818"/>
                  </a:lnTo>
                  <a:lnTo>
                    <a:pt x="524117" y="55986"/>
                  </a:lnTo>
                  <a:lnTo>
                    <a:pt x="507040" y="95790"/>
                  </a:lnTo>
                  <a:lnTo>
                    <a:pt x="501094" y="143828"/>
                  </a:lnTo>
                  <a:lnTo>
                    <a:pt x="506546" y="191167"/>
                  </a:lnTo>
                  <a:lnTo>
                    <a:pt x="506572" y="191394"/>
                  </a:lnTo>
                  <a:lnTo>
                    <a:pt x="522590" y="231410"/>
                  </a:lnTo>
                  <a:lnTo>
                    <a:pt x="548520" y="262141"/>
                  </a:lnTo>
                  <a:lnTo>
                    <a:pt x="583737" y="281852"/>
                  </a:lnTo>
                  <a:lnTo>
                    <a:pt x="627614" y="288807"/>
                  </a:lnTo>
                  <a:lnTo>
                    <a:pt x="670222" y="282799"/>
                  </a:lnTo>
                  <a:lnTo>
                    <a:pt x="706016" y="264965"/>
                  </a:lnTo>
                  <a:lnTo>
                    <a:pt x="714428" y="255740"/>
                  </a:lnTo>
                  <a:lnTo>
                    <a:pt x="629917" y="255740"/>
                  </a:lnTo>
                  <a:lnTo>
                    <a:pt x="594136" y="248205"/>
                  </a:lnTo>
                  <a:lnTo>
                    <a:pt x="566032" y="226320"/>
                  </a:lnTo>
                  <a:lnTo>
                    <a:pt x="547781" y="191394"/>
                  </a:lnTo>
                  <a:lnTo>
                    <a:pt x="547662" y="191167"/>
                  </a:lnTo>
                  <a:lnTo>
                    <a:pt x="541083" y="143828"/>
                  </a:lnTo>
                  <a:lnTo>
                    <a:pt x="547861" y="96019"/>
                  </a:lnTo>
                  <a:lnTo>
                    <a:pt x="566465" y="61334"/>
                  </a:lnTo>
                  <a:lnTo>
                    <a:pt x="594299" y="40206"/>
                  </a:lnTo>
                  <a:lnTo>
                    <a:pt x="628766" y="33067"/>
                  </a:lnTo>
                  <a:lnTo>
                    <a:pt x="713229" y="33067"/>
                  </a:lnTo>
                  <a:lnTo>
                    <a:pt x="705776" y="24564"/>
                  </a:lnTo>
                  <a:lnTo>
                    <a:pt x="671443" y="6279"/>
                  </a:lnTo>
                  <a:lnTo>
                    <a:pt x="630692" y="0"/>
                  </a:lnTo>
                  <a:close/>
                </a:path>
                <a:path w="1243330" h="288925">
                  <a:moveTo>
                    <a:pt x="748364" y="194978"/>
                  </a:moveTo>
                  <a:lnTo>
                    <a:pt x="710292" y="194978"/>
                  </a:lnTo>
                  <a:lnTo>
                    <a:pt x="700279" y="219557"/>
                  </a:lnTo>
                  <a:lnTo>
                    <a:pt x="683522" y="238768"/>
                  </a:lnTo>
                  <a:lnTo>
                    <a:pt x="660056" y="251275"/>
                  </a:lnTo>
                  <a:lnTo>
                    <a:pt x="629917" y="255740"/>
                  </a:lnTo>
                  <a:lnTo>
                    <a:pt x="714428" y="255740"/>
                  </a:lnTo>
                  <a:lnTo>
                    <a:pt x="732797" y="235595"/>
                  </a:lnTo>
                  <a:lnTo>
                    <a:pt x="748364" y="194978"/>
                  </a:lnTo>
                  <a:close/>
                </a:path>
                <a:path w="1243330" h="288925">
                  <a:moveTo>
                    <a:pt x="713229" y="33067"/>
                  </a:moveTo>
                  <a:lnTo>
                    <a:pt x="628766" y="33067"/>
                  </a:lnTo>
                  <a:lnTo>
                    <a:pt x="658788" y="37640"/>
                  </a:lnTo>
                  <a:lnTo>
                    <a:pt x="682318" y="50325"/>
                  </a:lnTo>
                  <a:lnTo>
                    <a:pt x="699069" y="69572"/>
                  </a:lnTo>
                  <a:lnTo>
                    <a:pt x="708753" y="93829"/>
                  </a:lnTo>
                  <a:lnTo>
                    <a:pt x="746825" y="93829"/>
                  </a:lnTo>
                  <a:lnTo>
                    <a:pt x="731601" y="54024"/>
                  </a:lnTo>
                  <a:lnTo>
                    <a:pt x="713229" y="33067"/>
                  </a:lnTo>
                  <a:close/>
                </a:path>
                <a:path w="1243330" h="288925">
                  <a:moveTo>
                    <a:pt x="975268" y="4994"/>
                  </a:moveTo>
                  <a:lnTo>
                    <a:pt x="786059" y="4994"/>
                  </a:lnTo>
                  <a:lnTo>
                    <a:pt x="786059" y="283802"/>
                  </a:lnTo>
                  <a:lnTo>
                    <a:pt x="975268" y="283802"/>
                  </a:lnTo>
                  <a:lnTo>
                    <a:pt x="975268" y="249971"/>
                  </a:lnTo>
                  <a:lnTo>
                    <a:pt x="825283" y="249971"/>
                  </a:lnTo>
                  <a:lnTo>
                    <a:pt x="825283" y="157283"/>
                  </a:lnTo>
                  <a:lnTo>
                    <a:pt x="966420" y="157283"/>
                  </a:lnTo>
                  <a:lnTo>
                    <a:pt x="966420" y="123441"/>
                  </a:lnTo>
                  <a:lnTo>
                    <a:pt x="825283" y="123441"/>
                  </a:lnTo>
                  <a:lnTo>
                    <a:pt x="825283" y="38836"/>
                  </a:lnTo>
                  <a:lnTo>
                    <a:pt x="975268" y="38836"/>
                  </a:lnTo>
                  <a:lnTo>
                    <a:pt x="975268" y="4994"/>
                  </a:lnTo>
                  <a:close/>
                </a:path>
                <a:path w="1243330" h="288925">
                  <a:moveTo>
                    <a:pt x="1057171" y="4994"/>
                  </a:moveTo>
                  <a:lnTo>
                    <a:pt x="1017948" y="4994"/>
                  </a:lnTo>
                  <a:lnTo>
                    <a:pt x="1017948" y="283802"/>
                  </a:lnTo>
                  <a:lnTo>
                    <a:pt x="1057171" y="283802"/>
                  </a:lnTo>
                  <a:lnTo>
                    <a:pt x="1057171" y="157283"/>
                  </a:lnTo>
                  <a:lnTo>
                    <a:pt x="1242925" y="157283"/>
                  </a:lnTo>
                  <a:lnTo>
                    <a:pt x="1242925" y="123441"/>
                  </a:lnTo>
                  <a:lnTo>
                    <a:pt x="1057171" y="123441"/>
                  </a:lnTo>
                  <a:lnTo>
                    <a:pt x="1057171" y="4994"/>
                  </a:lnTo>
                  <a:close/>
                </a:path>
                <a:path w="1243330" h="288925">
                  <a:moveTo>
                    <a:pt x="1242925" y="157283"/>
                  </a:moveTo>
                  <a:lnTo>
                    <a:pt x="1203701" y="157283"/>
                  </a:lnTo>
                  <a:lnTo>
                    <a:pt x="1203701" y="283802"/>
                  </a:lnTo>
                  <a:lnTo>
                    <a:pt x="1242925" y="283802"/>
                  </a:lnTo>
                  <a:lnTo>
                    <a:pt x="1242925" y="157283"/>
                  </a:lnTo>
                  <a:close/>
                </a:path>
                <a:path w="1243330" h="288925">
                  <a:moveTo>
                    <a:pt x="1242925" y="4994"/>
                  </a:moveTo>
                  <a:lnTo>
                    <a:pt x="1203701" y="4994"/>
                  </a:lnTo>
                  <a:lnTo>
                    <a:pt x="1203701" y="123441"/>
                  </a:lnTo>
                  <a:lnTo>
                    <a:pt x="1242925" y="123441"/>
                  </a:lnTo>
                  <a:lnTo>
                    <a:pt x="1242925" y="4994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9">
              <a:extLst>
                <a:ext uri="{FF2B5EF4-FFF2-40B4-BE49-F238E27FC236}">
                  <a16:creationId xmlns:a16="http://schemas.microsoft.com/office/drawing/2014/main" id="{CE2579DF-0B30-705B-C8FD-25AF551B5F6A}"/>
                </a:ext>
              </a:extLst>
            </p:cNvPr>
            <p:cNvSpPr/>
            <p:nvPr userDrawn="1"/>
          </p:nvSpPr>
          <p:spPr>
            <a:xfrm>
              <a:off x="143595" y="135785"/>
              <a:ext cx="288028" cy="288028"/>
            </a:xfrm>
            <a:custGeom>
              <a:avLst/>
              <a:gdLst/>
              <a:ahLst/>
              <a:cxnLst/>
              <a:rect l="l" t="t" r="r" b="b"/>
              <a:pathLst>
                <a:path w="474980" h="474980">
                  <a:moveTo>
                    <a:pt x="62826" y="237299"/>
                  </a:moveTo>
                  <a:lnTo>
                    <a:pt x="60350" y="225069"/>
                  </a:lnTo>
                  <a:lnTo>
                    <a:pt x="53619" y="215087"/>
                  </a:lnTo>
                  <a:lnTo>
                    <a:pt x="43637" y="208356"/>
                  </a:lnTo>
                  <a:lnTo>
                    <a:pt x="31407" y="205879"/>
                  </a:lnTo>
                  <a:lnTo>
                    <a:pt x="19177" y="208356"/>
                  </a:lnTo>
                  <a:lnTo>
                    <a:pt x="9194" y="215087"/>
                  </a:lnTo>
                  <a:lnTo>
                    <a:pt x="2463" y="225069"/>
                  </a:lnTo>
                  <a:lnTo>
                    <a:pt x="0" y="237299"/>
                  </a:lnTo>
                  <a:lnTo>
                    <a:pt x="2463" y="249516"/>
                  </a:lnTo>
                  <a:lnTo>
                    <a:pt x="9194" y="259499"/>
                  </a:lnTo>
                  <a:lnTo>
                    <a:pt x="19177" y="266230"/>
                  </a:lnTo>
                  <a:lnTo>
                    <a:pt x="31407" y="268693"/>
                  </a:lnTo>
                  <a:lnTo>
                    <a:pt x="43637" y="266230"/>
                  </a:lnTo>
                  <a:lnTo>
                    <a:pt x="53619" y="259499"/>
                  </a:lnTo>
                  <a:lnTo>
                    <a:pt x="60350" y="249516"/>
                  </a:lnTo>
                  <a:lnTo>
                    <a:pt x="62826" y="237299"/>
                  </a:lnTo>
                  <a:close/>
                </a:path>
                <a:path w="474980" h="474980">
                  <a:moveTo>
                    <a:pt x="90170" y="336346"/>
                  </a:moveTo>
                  <a:lnTo>
                    <a:pt x="86194" y="324523"/>
                  </a:lnTo>
                  <a:lnTo>
                    <a:pt x="77939" y="315175"/>
                  </a:lnTo>
                  <a:lnTo>
                    <a:pt x="67119" y="309892"/>
                  </a:lnTo>
                  <a:lnTo>
                    <a:pt x="55118" y="309054"/>
                  </a:lnTo>
                  <a:lnTo>
                    <a:pt x="43294" y="313029"/>
                  </a:lnTo>
                  <a:lnTo>
                    <a:pt x="33934" y="321284"/>
                  </a:lnTo>
                  <a:lnTo>
                    <a:pt x="28651" y="332105"/>
                  </a:lnTo>
                  <a:lnTo>
                    <a:pt x="27813" y="344106"/>
                  </a:lnTo>
                  <a:lnTo>
                    <a:pt x="31788" y="355930"/>
                  </a:lnTo>
                  <a:lnTo>
                    <a:pt x="40043" y="365290"/>
                  </a:lnTo>
                  <a:lnTo>
                    <a:pt x="50863" y="370560"/>
                  </a:lnTo>
                  <a:lnTo>
                    <a:pt x="62877" y="371398"/>
                  </a:lnTo>
                  <a:lnTo>
                    <a:pt x="74701" y="367423"/>
                  </a:lnTo>
                  <a:lnTo>
                    <a:pt x="84048" y="359181"/>
                  </a:lnTo>
                  <a:lnTo>
                    <a:pt x="89331" y="348361"/>
                  </a:lnTo>
                  <a:lnTo>
                    <a:pt x="90170" y="336346"/>
                  </a:lnTo>
                  <a:close/>
                </a:path>
                <a:path w="474980" h="474980">
                  <a:moveTo>
                    <a:pt x="90170" y="138239"/>
                  </a:moveTo>
                  <a:lnTo>
                    <a:pt x="89331" y="126225"/>
                  </a:lnTo>
                  <a:lnTo>
                    <a:pt x="84048" y="115404"/>
                  </a:lnTo>
                  <a:lnTo>
                    <a:pt x="74701" y="107149"/>
                  </a:lnTo>
                  <a:lnTo>
                    <a:pt x="62877" y="103174"/>
                  </a:lnTo>
                  <a:lnTo>
                    <a:pt x="50863" y="104013"/>
                  </a:lnTo>
                  <a:lnTo>
                    <a:pt x="40043" y="109296"/>
                  </a:lnTo>
                  <a:lnTo>
                    <a:pt x="31800" y="118656"/>
                  </a:lnTo>
                  <a:lnTo>
                    <a:pt x="27813" y="130479"/>
                  </a:lnTo>
                  <a:lnTo>
                    <a:pt x="28651" y="142481"/>
                  </a:lnTo>
                  <a:lnTo>
                    <a:pt x="33934" y="153301"/>
                  </a:lnTo>
                  <a:lnTo>
                    <a:pt x="43281" y="161556"/>
                  </a:lnTo>
                  <a:lnTo>
                    <a:pt x="55105" y="165519"/>
                  </a:lnTo>
                  <a:lnTo>
                    <a:pt x="67119" y="164693"/>
                  </a:lnTo>
                  <a:lnTo>
                    <a:pt x="77939" y="159410"/>
                  </a:lnTo>
                  <a:lnTo>
                    <a:pt x="86194" y="150050"/>
                  </a:lnTo>
                  <a:lnTo>
                    <a:pt x="90170" y="138239"/>
                  </a:lnTo>
                  <a:close/>
                </a:path>
                <a:path w="474980" h="474980">
                  <a:moveTo>
                    <a:pt x="141947" y="237286"/>
                  </a:moveTo>
                  <a:lnTo>
                    <a:pt x="140106" y="228117"/>
                  </a:lnTo>
                  <a:lnTo>
                    <a:pt x="135051" y="220637"/>
                  </a:lnTo>
                  <a:lnTo>
                    <a:pt x="127571" y="215582"/>
                  </a:lnTo>
                  <a:lnTo>
                    <a:pt x="118402" y="213741"/>
                  </a:lnTo>
                  <a:lnTo>
                    <a:pt x="109232" y="215582"/>
                  </a:lnTo>
                  <a:lnTo>
                    <a:pt x="101752" y="220637"/>
                  </a:lnTo>
                  <a:lnTo>
                    <a:pt x="96697" y="228117"/>
                  </a:lnTo>
                  <a:lnTo>
                    <a:pt x="94856" y="237286"/>
                  </a:lnTo>
                  <a:lnTo>
                    <a:pt x="96697" y="246456"/>
                  </a:lnTo>
                  <a:lnTo>
                    <a:pt x="101752" y="253949"/>
                  </a:lnTo>
                  <a:lnTo>
                    <a:pt x="109232" y="258991"/>
                  </a:lnTo>
                  <a:lnTo>
                    <a:pt x="118402" y="260845"/>
                  </a:lnTo>
                  <a:lnTo>
                    <a:pt x="127571" y="258991"/>
                  </a:lnTo>
                  <a:lnTo>
                    <a:pt x="135051" y="253949"/>
                  </a:lnTo>
                  <a:lnTo>
                    <a:pt x="140106" y="246456"/>
                  </a:lnTo>
                  <a:lnTo>
                    <a:pt x="141947" y="237286"/>
                  </a:lnTo>
                  <a:close/>
                </a:path>
                <a:path w="474980" h="474980">
                  <a:moveTo>
                    <a:pt x="165519" y="419468"/>
                  </a:moveTo>
                  <a:lnTo>
                    <a:pt x="164680" y="407454"/>
                  </a:lnTo>
                  <a:lnTo>
                    <a:pt x="159397" y="396633"/>
                  </a:lnTo>
                  <a:lnTo>
                    <a:pt x="150050" y="388378"/>
                  </a:lnTo>
                  <a:lnTo>
                    <a:pt x="138226" y="384403"/>
                  </a:lnTo>
                  <a:lnTo>
                    <a:pt x="126212" y="385241"/>
                  </a:lnTo>
                  <a:lnTo>
                    <a:pt x="115392" y="390525"/>
                  </a:lnTo>
                  <a:lnTo>
                    <a:pt x="107149" y="399884"/>
                  </a:lnTo>
                  <a:lnTo>
                    <a:pt x="103174" y="411708"/>
                  </a:lnTo>
                  <a:lnTo>
                    <a:pt x="104013" y="423710"/>
                  </a:lnTo>
                  <a:lnTo>
                    <a:pt x="109296" y="434530"/>
                  </a:lnTo>
                  <a:lnTo>
                    <a:pt x="118643" y="442785"/>
                  </a:lnTo>
                  <a:lnTo>
                    <a:pt x="130467" y="446760"/>
                  </a:lnTo>
                  <a:lnTo>
                    <a:pt x="142481" y="445922"/>
                  </a:lnTo>
                  <a:lnTo>
                    <a:pt x="153301" y="440639"/>
                  </a:lnTo>
                  <a:lnTo>
                    <a:pt x="161544" y="431292"/>
                  </a:lnTo>
                  <a:lnTo>
                    <a:pt x="165519" y="419468"/>
                  </a:lnTo>
                  <a:close/>
                </a:path>
                <a:path w="474980" h="474980">
                  <a:moveTo>
                    <a:pt x="165519" y="55118"/>
                  </a:moveTo>
                  <a:lnTo>
                    <a:pt x="161544" y="43294"/>
                  </a:lnTo>
                  <a:lnTo>
                    <a:pt x="153301" y="33947"/>
                  </a:lnTo>
                  <a:lnTo>
                    <a:pt x="142481" y="28663"/>
                  </a:lnTo>
                  <a:lnTo>
                    <a:pt x="130467" y="27825"/>
                  </a:lnTo>
                  <a:lnTo>
                    <a:pt x="118643" y="31800"/>
                  </a:lnTo>
                  <a:lnTo>
                    <a:pt x="109296" y="40043"/>
                  </a:lnTo>
                  <a:lnTo>
                    <a:pt x="104013" y="50876"/>
                  </a:lnTo>
                  <a:lnTo>
                    <a:pt x="103174" y="62890"/>
                  </a:lnTo>
                  <a:lnTo>
                    <a:pt x="107149" y="74714"/>
                  </a:lnTo>
                  <a:lnTo>
                    <a:pt x="115404" y="84061"/>
                  </a:lnTo>
                  <a:lnTo>
                    <a:pt x="126212" y="89331"/>
                  </a:lnTo>
                  <a:lnTo>
                    <a:pt x="138226" y="90170"/>
                  </a:lnTo>
                  <a:lnTo>
                    <a:pt x="150050" y="86194"/>
                  </a:lnTo>
                  <a:lnTo>
                    <a:pt x="159410" y="77952"/>
                  </a:lnTo>
                  <a:lnTo>
                    <a:pt x="164680" y="67132"/>
                  </a:lnTo>
                  <a:lnTo>
                    <a:pt x="165519" y="55118"/>
                  </a:lnTo>
                  <a:close/>
                </a:path>
                <a:path w="474980" h="474980">
                  <a:moveTo>
                    <a:pt x="176771" y="321348"/>
                  </a:moveTo>
                  <a:lnTo>
                    <a:pt x="175056" y="312483"/>
                  </a:lnTo>
                  <a:lnTo>
                    <a:pt x="169875" y="304698"/>
                  </a:lnTo>
                  <a:lnTo>
                    <a:pt x="162077" y="299529"/>
                  </a:lnTo>
                  <a:lnTo>
                    <a:pt x="153225" y="297802"/>
                  </a:lnTo>
                  <a:lnTo>
                    <a:pt x="144360" y="299529"/>
                  </a:lnTo>
                  <a:lnTo>
                    <a:pt x="136563" y="304698"/>
                  </a:lnTo>
                  <a:lnTo>
                    <a:pt x="131394" y="312483"/>
                  </a:lnTo>
                  <a:lnTo>
                    <a:pt x="129667" y="321348"/>
                  </a:lnTo>
                  <a:lnTo>
                    <a:pt x="131394" y="330212"/>
                  </a:lnTo>
                  <a:lnTo>
                    <a:pt x="136563" y="338010"/>
                  </a:lnTo>
                  <a:lnTo>
                    <a:pt x="144360" y="343179"/>
                  </a:lnTo>
                  <a:lnTo>
                    <a:pt x="153225" y="344906"/>
                  </a:lnTo>
                  <a:lnTo>
                    <a:pt x="162077" y="343179"/>
                  </a:lnTo>
                  <a:lnTo>
                    <a:pt x="169875" y="338010"/>
                  </a:lnTo>
                  <a:lnTo>
                    <a:pt x="175056" y="330212"/>
                  </a:lnTo>
                  <a:lnTo>
                    <a:pt x="176771" y="321348"/>
                  </a:lnTo>
                  <a:close/>
                </a:path>
                <a:path w="474980" h="474980">
                  <a:moveTo>
                    <a:pt x="176784" y="153225"/>
                  </a:moveTo>
                  <a:lnTo>
                    <a:pt x="175056" y="144360"/>
                  </a:lnTo>
                  <a:lnTo>
                    <a:pt x="169875" y="136575"/>
                  </a:lnTo>
                  <a:lnTo>
                    <a:pt x="162090" y="131394"/>
                  </a:lnTo>
                  <a:lnTo>
                    <a:pt x="153225" y="129679"/>
                  </a:lnTo>
                  <a:lnTo>
                    <a:pt x="144360" y="131394"/>
                  </a:lnTo>
                  <a:lnTo>
                    <a:pt x="136575" y="136575"/>
                  </a:lnTo>
                  <a:lnTo>
                    <a:pt x="131394" y="144360"/>
                  </a:lnTo>
                  <a:lnTo>
                    <a:pt x="129667" y="153225"/>
                  </a:lnTo>
                  <a:lnTo>
                    <a:pt x="131394" y="162090"/>
                  </a:lnTo>
                  <a:lnTo>
                    <a:pt x="136575" y="169875"/>
                  </a:lnTo>
                  <a:lnTo>
                    <a:pt x="144360" y="175056"/>
                  </a:lnTo>
                  <a:lnTo>
                    <a:pt x="153225" y="176784"/>
                  </a:lnTo>
                  <a:lnTo>
                    <a:pt x="162090" y="175056"/>
                  </a:lnTo>
                  <a:lnTo>
                    <a:pt x="169875" y="169875"/>
                  </a:lnTo>
                  <a:lnTo>
                    <a:pt x="175056" y="162090"/>
                  </a:lnTo>
                  <a:lnTo>
                    <a:pt x="176784" y="153225"/>
                  </a:lnTo>
                  <a:close/>
                </a:path>
                <a:path w="474980" h="474980">
                  <a:moveTo>
                    <a:pt x="209016" y="261874"/>
                  </a:moveTo>
                  <a:lnTo>
                    <a:pt x="201853" y="249478"/>
                  </a:lnTo>
                  <a:lnTo>
                    <a:pt x="193941" y="247357"/>
                  </a:lnTo>
                  <a:lnTo>
                    <a:pt x="187744" y="250939"/>
                  </a:lnTo>
                  <a:lnTo>
                    <a:pt x="181546" y="254520"/>
                  </a:lnTo>
                  <a:lnTo>
                    <a:pt x="179412" y="262432"/>
                  </a:lnTo>
                  <a:lnTo>
                    <a:pt x="186575" y="274828"/>
                  </a:lnTo>
                  <a:lnTo>
                    <a:pt x="194500" y="276961"/>
                  </a:lnTo>
                  <a:lnTo>
                    <a:pt x="206895" y="269798"/>
                  </a:lnTo>
                  <a:lnTo>
                    <a:pt x="209016" y="261874"/>
                  </a:lnTo>
                  <a:close/>
                </a:path>
                <a:path w="474980" h="474980">
                  <a:moveTo>
                    <a:pt x="209016" y="212699"/>
                  </a:moveTo>
                  <a:lnTo>
                    <a:pt x="206895" y="204787"/>
                  </a:lnTo>
                  <a:lnTo>
                    <a:pt x="200698" y="201206"/>
                  </a:lnTo>
                  <a:lnTo>
                    <a:pt x="194500" y="197624"/>
                  </a:lnTo>
                  <a:lnTo>
                    <a:pt x="186575" y="199745"/>
                  </a:lnTo>
                  <a:lnTo>
                    <a:pt x="179425" y="212153"/>
                  </a:lnTo>
                  <a:lnTo>
                    <a:pt x="181546" y="220078"/>
                  </a:lnTo>
                  <a:lnTo>
                    <a:pt x="193941" y="227228"/>
                  </a:lnTo>
                  <a:lnTo>
                    <a:pt x="201853" y="225107"/>
                  </a:lnTo>
                  <a:lnTo>
                    <a:pt x="209016" y="212699"/>
                  </a:lnTo>
                  <a:close/>
                </a:path>
                <a:path w="474980" h="474980">
                  <a:moveTo>
                    <a:pt x="250240" y="279869"/>
                  </a:moveTo>
                  <a:lnTo>
                    <a:pt x="244449" y="274066"/>
                  </a:lnTo>
                  <a:lnTo>
                    <a:pt x="230136" y="274066"/>
                  </a:lnTo>
                  <a:lnTo>
                    <a:pt x="224332" y="279869"/>
                  </a:lnTo>
                  <a:lnTo>
                    <a:pt x="224332" y="287020"/>
                  </a:lnTo>
                  <a:lnTo>
                    <a:pt x="224332" y="294170"/>
                  </a:lnTo>
                  <a:lnTo>
                    <a:pt x="230136" y="299974"/>
                  </a:lnTo>
                  <a:lnTo>
                    <a:pt x="244449" y="299974"/>
                  </a:lnTo>
                  <a:lnTo>
                    <a:pt x="250240" y="294170"/>
                  </a:lnTo>
                  <a:lnTo>
                    <a:pt x="250240" y="279869"/>
                  </a:lnTo>
                  <a:close/>
                </a:path>
                <a:path w="474980" h="474980">
                  <a:moveTo>
                    <a:pt x="250240" y="180416"/>
                  </a:moveTo>
                  <a:lnTo>
                    <a:pt x="244436" y="174612"/>
                  </a:lnTo>
                  <a:lnTo>
                    <a:pt x="230124" y="174612"/>
                  </a:lnTo>
                  <a:lnTo>
                    <a:pt x="224332" y="180416"/>
                  </a:lnTo>
                  <a:lnTo>
                    <a:pt x="224332" y="194716"/>
                  </a:lnTo>
                  <a:lnTo>
                    <a:pt x="230124" y="200520"/>
                  </a:lnTo>
                  <a:lnTo>
                    <a:pt x="244436" y="200520"/>
                  </a:lnTo>
                  <a:lnTo>
                    <a:pt x="250240" y="194716"/>
                  </a:lnTo>
                  <a:lnTo>
                    <a:pt x="250240" y="187566"/>
                  </a:lnTo>
                  <a:lnTo>
                    <a:pt x="250240" y="180416"/>
                  </a:lnTo>
                  <a:close/>
                </a:path>
                <a:path w="474980" h="474980">
                  <a:moveTo>
                    <a:pt x="260832" y="356171"/>
                  </a:moveTo>
                  <a:lnTo>
                    <a:pt x="258991" y="347002"/>
                  </a:lnTo>
                  <a:lnTo>
                    <a:pt x="253936" y="339521"/>
                  </a:lnTo>
                  <a:lnTo>
                    <a:pt x="246456" y="334479"/>
                  </a:lnTo>
                  <a:lnTo>
                    <a:pt x="237274" y="332625"/>
                  </a:lnTo>
                  <a:lnTo>
                    <a:pt x="228117" y="334479"/>
                  </a:lnTo>
                  <a:lnTo>
                    <a:pt x="220624" y="339521"/>
                  </a:lnTo>
                  <a:lnTo>
                    <a:pt x="215582" y="347002"/>
                  </a:lnTo>
                  <a:lnTo>
                    <a:pt x="213728" y="356171"/>
                  </a:lnTo>
                  <a:lnTo>
                    <a:pt x="215582" y="365340"/>
                  </a:lnTo>
                  <a:lnTo>
                    <a:pt x="220624" y="372833"/>
                  </a:lnTo>
                  <a:lnTo>
                    <a:pt x="228117" y="377875"/>
                  </a:lnTo>
                  <a:lnTo>
                    <a:pt x="237274" y="379717"/>
                  </a:lnTo>
                  <a:lnTo>
                    <a:pt x="246456" y="377875"/>
                  </a:lnTo>
                  <a:lnTo>
                    <a:pt x="253936" y="372833"/>
                  </a:lnTo>
                  <a:lnTo>
                    <a:pt x="258991" y="365340"/>
                  </a:lnTo>
                  <a:lnTo>
                    <a:pt x="260832" y="356171"/>
                  </a:lnTo>
                  <a:close/>
                </a:path>
                <a:path w="474980" h="474980">
                  <a:moveTo>
                    <a:pt x="260845" y="118402"/>
                  </a:moveTo>
                  <a:lnTo>
                    <a:pt x="258991" y="109245"/>
                  </a:lnTo>
                  <a:lnTo>
                    <a:pt x="253936" y="101752"/>
                  </a:lnTo>
                  <a:lnTo>
                    <a:pt x="246456" y="96710"/>
                  </a:lnTo>
                  <a:lnTo>
                    <a:pt x="237286" y="94856"/>
                  </a:lnTo>
                  <a:lnTo>
                    <a:pt x="228117" y="96710"/>
                  </a:lnTo>
                  <a:lnTo>
                    <a:pt x="220637" y="101752"/>
                  </a:lnTo>
                  <a:lnTo>
                    <a:pt x="215582" y="109245"/>
                  </a:lnTo>
                  <a:lnTo>
                    <a:pt x="213728" y="118402"/>
                  </a:lnTo>
                  <a:lnTo>
                    <a:pt x="215582" y="127584"/>
                  </a:lnTo>
                  <a:lnTo>
                    <a:pt x="220637" y="135064"/>
                  </a:lnTo>
                  <a:lnTo>
                    <a:pt x="228117" y="140119"/>
                  </a:lnTo>
                  <a:lnTo>
                    <a:pt x="237286" y="141960"/>
                  </a:lnTo>
                  <a:lnTo>
                    <a:pt x="246456" y="140119"/>
                  </a:lnTo>
                  <a:lnTo>
                    <a:pt x="253936" y="135064"/>
                  </a:lnTo>
                  <a:lnTo>
                    <a:pt x="258991" y="127584"/>
                  </a:lnTo>
                  <a:lnTo>
                    <a:pt x="260845" y="118402"/>
                  </a:lnTo>
                  <a:close/>
                </a:path>
                <a:path w="474980" h="474980">
                  <a:moveTo>
                    <a:pt x="268693" y="443166"/>
                  </a:moveTo>
                  <a:lnTo>
                    <a:pt x="266230" y="430936"/>
                  </a:lnTo>
                  <a:lnTo>
                    <a:pt x="259499" y="420954"/>
                  </a:lnTo>
                  <a:lnTo>
                    <a:pt x="249516" y="414223"/>
                  </a:lnTo>
                  <a:lnTo>
                    <a:pt x="237286" y="411746"/>
                  </a:lnTo>
                  <a:lnTo>
                    <a:pt x="225069" y="414223"/>
                  </a:lnTo>
                  <a:lnTo>
                    <a:pt x="215074" y="420954"/>
                  </a:lnTo>
                  <a:lnTo>
                    <a:pt x="208343" y="430936"/>
                  </a:lnTo>
                  <a:lnTo>
                    <a:pt x="205879" y="443166"/>
                  </a:lnTo>
                  <a:lnTo>
                    <a:pt x="208343" y="455396"/>
                  </a:lnTo>
                  <a:lnTo>
                    <a:pt x="215074" y="465378"/>
                  </a:lnTo>
                  <a:lnTo>
                    <a:pt x="225069" y="472109"/>
                  </a:lnTo>
                  <a:lnTo>
                    <a:pt x="237286" y="474573"/>
                  </a:lnTo>
                  <a:lnTo>
                    <a:pt x="249516" y="472109"/>
                  </a:lnTo>
                  <a:lnTo>
                    <a:pt x="259499" y="465378"/>
                  </a:lnTo>
                  <a:lnTo>
                    <a:pt x="266230" y="455396"/>
                  </a:lnTo>
                  <a:lnTo>
                    <a:pt x="268693" y="443166"/>
                  </a:lnTo>
                  <a:close/>
                </a:path>
                <a:path w="474980" h="474980">
                  <a:moveTo>
                    <a:pt x="268693" y="31419"/>
                  </a:moveTo>
                  <a:lnTo>
                    <a:pt x="266230" y="19189"/>
                  </a:lnTo>
                  <a:lnTo>
                    <a:pt x="259486" y="9207"/>
                  </a:lnTo>
                  <a:lnTo>
                    <a:pt x="249504" y="2476"/>
                  </a:lnTo>
                  <a:lnTo>
                    <a:pt x="237274" y="0"/>
                  </a:lnTo>
                  <a:lnTo>
                    <a:pt x="225056" y="2476"/>
                  </a:lnTo>
                  <a:lnTo>
                    <a:pt x="215074" y="9207"/>
                  </a:lnTo>
                  <a:lnTo>
                    <a:pt x="208343" y="19189"/>
                  </a:lnTo>
                  <a:lnTo>
                    <a:pt x="205879" y="31419"/>
                  </a:lnTo>
                  <a:lnTo>
                    <a:pt x="208343" y="43649"/>
                  </a:lnTo>
                  <a:lnTo>
                    <a:pt x="215074" y="53632"/>
                  </a:lnTo>
                  <a:lnTo>
                    <a:pt x="225056" y="60363"/>
                  </a:lnTo>
                  <a:lnTo>
                    <a:pt x="237274" y="62826"/>
                  </a:lnTo>
                  <a:lnTo>
                    <a:pt x="249504" y="60363"/>
                  </a:lnTo>
                  <a:lnTo>
                    <a:pt x="259486" y="53632"/>
                  </a:lnTo>
                  <a:lnTo>
                    <a:pt x="266230" y="43649"/>
                  </a:lnTo>
                  <a:lnTo>
                    <a:pt x="268693" y="31419"/>
                  </a:lnTo>
                  <a:close/>
                </a:path>
                <a:path w="474980" h="474980">
                  <a:moveTo>
                    <a:pt x="295148" y="262432"/>
                  </a:moveTo>
                  <a:lnTo>
                    <a:pt x="293027" y="254508"/>
                  </a:lnTo>
                  <a:lnTo>
                    <a:pt x="280631" y="247357"/>
                  </a:lnTo>
                  <a:lnTo>
                    <a:pt x="272707" y="249478"/>
                  </a:lnTo>
                  <a:lnTo>
                    <a:pt x="265544" y="261874"/>
                  </a:lnTo>
                  <a:lnTo>
                    <a:pt x="267677" y="269798"/>
                  </a:lnTo>
                  <a:lnTo>
                    <a:pt x="273875" y="273380"/>
                  </a:lnTo>
                  <a:lnTo>
                    <a:pt x="280073" y="276961"/>
                  </a:lnTo>
                  <a:lnTo>
                    <a:pt x="287985" y="274828"/>
                  </a:lnTo>
                  <a:lnTo>
                    <a:pt x="295148" y="262432"/>
                  </a:lnTo>
                  <a:close/>
                </a:path>
                <a:path w="474980" h="474980">
                  <a:moveTo>
                    <a:pt x="295148" y="212153"/>
                  </a:moveTo>
                  <a:lnTo>
                    <a:pt x="287985" y="199758"/>
                  </a:lnTo>
                  <a:lnTo>
                    <a:pt x="280073" y="197624"/>
                  </a:lnTo>
                  <a:lnTo>
                    <a:pt x="267677" y="204774"/>
                  </a:lnTo>
                  <a:lnTo>
                    <a:pt x="265557" y="212699"/>
                  </a:lnTo>
                  <a:lnTo>
                    <a:pt x="272707" y="225107"/>
                  </a:lnTo>
                  <a:lnTo>
                    <a:pt x="280631" y="227228"/>
                  </a:lnTo>
                  <a:lnTo>
                    <a:pt x="286829" y="223647"/>
                  </a:lnTo>
                  <a:lnTo>
                    <a:pt x="293027" y="220065"/>
                  </a:lnTo>
                  <a:lnTo>
                    <a:pt x="295148" y="212153"/>
                  </a:lnTo>
                  <a:close/>
                </a:path>
                <a:path w="474980" h="474980">
                  <a:moveTo>
                    <a:pt x="344893" y="153225"/>
                  </a:moveTo>
                  <a:lnTo>
                    <a:pt x="343179" y="144360"/>
                  </a:lnTo>
                  <a:lnTo>
                    <a:pt x="338010" y="136575"/>
                  </a:lnTo>
                  <a:lnTo>
                    <a:pt x="330212" y="131394"/>
                  </a:lnTo>
                  <a:lnTo>
                    <a:pt x="321348" y="129667"/>
                  </a:lnTo>
                  <a:lnTo>
                    <a:pt x="312483" y="131394"/>
                  </a:lnTo>
                  <a:lnTo>
                    <a:pt x="304698" y="136575"/>
                  </a:lnTo>
                  <a:lnTo>
                    <a:pt x="299516" y="144360"/>
                  </a:lnTo>
                  <a:lnTo>
                    <a:pt x="297789" y="153225"/>
                  </a:lnTo>
                  <a:lnTo>
                    <a:pt x="299516" y="162090"/>
                  </a:lnTo>
                  <a:lnTo>
                    <a:pt x="304698" y="169887"/>
                  </a:lnTo>
                  <a:lnTo>
                    <a:pt x="312483" y="175056"/>
                  </a:lnTo>
                  <a:lnTo>
                    <a:pt x="321348" y="176784"/>
                  </a:lnTo>
                  <a:lnTo>
                    <a:pt x="330212" y="175056"/>
                  </a:lnTo>
                  <a:lnTo>
                    <a:pt x="338010" y="169887"/>
                  </a:lnTo>
                  <a:lnTo>
                    <a:pt x="343179" y="162090"/>
                  </a:lnTo>
                  <a:lnTo>
                    <a:pt x="344893" y="153225"/>
                  </a:lnTo>
                  <a:close/>
                </a:path>
                <a:path w="474980" h="474980">
                  <a:moveTo>
                    <a:pt x="344906" y="321348"/>
                  </a:moveTo>
                  <a:lnTo>
                    <a:pt x="343179" y="312496"/>
                  </a:lnTo>
                  <a:lnTo>
                    <a:pt x="337997" y="304698"/>
                  </a:lnTo>
                  <a:lnTo>
                    <a:pt x="330212" y="299529"/>
                  </a:lnTo>
                  <a:lnTo>
                    <a:pt x="321348" y="297802"/>
                  </a:lnTo>
                  <a:lnTo>
                    <a:pt x="312483" y="299529"/>
                  </a:lnTo>
                  <a:lnTo>
                    <a:pt x="304698" y="304698"/>
                  </a:lnTo>
                  <a:lnTo>
                    <a:pt x="299516" y="312496"/>
                  </a:lnTo>
                  <a:lnTo>
                    <a:pt x="297802" y="321348"/>
                  </a:lnTo>
                  <a:lnTo>
                    <a:pt x="299516" y="330212"/>
                  </a:lnTo>
                  <a:lnTo>
                    <a:pt x="304698" y="338010"/>
                  </a:lnTo>
                  <a:lnTo>
                    <a:pt x="312483" y="343179"/>
                  </a:lnTo>
                  <a:lnTo>
                    <a:pt x="321348" y="344906"/>
                  </a:lnTo>
                  <a:lnTo>
                    <a:pt x="330212" y="343179"/>
                  </a:lnTo>
                  <a:lnTo>
                    <a:pt x="337997" y="338010"/>
                  </a:lnTo>
                  <a:lnTo>
                    <a:pt x="343179" y="330212"/>
                  </a:lnTo>
                  <a:lnTo>
                    <a:pt x="344906" y="321348"/>
                  </a:lnTo>
                  <a:close/>
                </a:path>
                <a:path w="474980" h="474980">
                  <a:moveTo>
                    <a:pt x="371398" y="411695"/>
                  </a:moveTo>
                  <a:lnTo>
                    <a:pt x="367423" y="399872"/>
                  </a:lnTo>
                  <a:lnTo>
                    <a:pt x="359168" y="390525"/>
                  </a:lnTo>
                  <a:lnTo>
                    <a:pt x="348348" y="385241"/>
                  </a:lnTo>
                  <a:lnTo>
                    <a:pt x="336346" y="384403"/>
                  </a:lnTo>
                  <a:lnTo>
                    <a:pt x="324523" y="388391"/>
                  </a:lnTo>
                  <a:lnTo>
                    <a:pt x="315163" y="396633"/>
                  </a:lnTo>
                  <a:lnTo>
                    <a:pt x="309880" y="407454"/>
                  </a:lnTo>
                  <a:lnTo>
                    <a:pt x="309054" y="419468"/>
                  </a:lnTo>
                  <a:lnTo>
                    <a:pt x="313016" y="431292"/>
                  </a:lnTo>
                  <a:lnTo>
                    <a:pt x="321271" y="440639"/>
                  </a:lnTo>
                  <a:lnTo>
                    <a:pt x="332092" y="445922"/>
                  </a:lnTo>
                  <a:lnTo>
                    <a:pt x="344106" y="446760"/>
                  </a:lnTo>
                  <a:lnTo>
                    <a:pt x="355917" y="442785"/>
                  </a:lnTo>
                  <a:lnTo>
                    <a:pt x="365277" y="434530"/>
                  </a:lnTo>
                  <a:lnTo>
                    <a:pt x="370560" y="423710"/>
                  </a:lnTo>
                  <a:lnTo>
                    <a:pt x="371398" y="411695"/>
                  </a:lnTo>
                  <a:close/>
                </a:path>
                <a:path w="474980" h="474980">
                  <a:moveTo>
                    <a:pt x="371398" y="62877"/>
                  </a:moveTo>
                  <a:lnTo>
                    <a:pt x="370560" y="50863"/>
                  </a:lnTo>
                  <a:lnTo>
                    <a:pt x="365277" y="40055"/>
                  </a:lnTo>
                  <a:lnTo>
                    <a:pt x="355930" y="31800"/>
                  </a:lnTo>
                  <a:lnTo>
                    <a:pt x="344106" y="27825"/>
                  </a:lnTo>
                  <a:lnTo>
                    <a:pt x="332092" y="28663"/>
                  </a:lnTo>
                  <a:lnTo>
                    <a:pt x="321271" y="33934"/>
                  </a:lnTo>
                  <a:lnTo>
                    <a:pt x="313029" y="43294"/>
                  </a:lnTo>
                  <a:lnTo>
                    <a:pt x="309054" y="55118"/>
                  </a:lnTo>
                  <a:lnTo>
                    <a:pt x="309892" y="67132"/>
                  </a:lnTo>
                  <a:lnTo>
                    <a:pt x="315163" y="77952"/>
                  </a:lnTo>
                  <a:lnTo>
                    <a:pt x="324523" y="86194"/>
                  </a:lnTo>
                  <a:lnTo>
                    <a:pt x="336346" y="90170"/>
                  </a:lnTo>
                  <a:lnTo>
                    <a:pt x="348348" y="89331"/>
                  </a:lnTo>
                  <a:lnTo>
                    <a:pt x="359168" y="84061"/>
                  </a:lnTo>
                  <a:lnTo>
                    <a:pt x="367423" y="74701"/>
                  </a:lnTo>
                  <a:lnTo>
                    <a:pt x="371398" y="62877"/>
                  </a:lnTo>
                  <a:close/>
                </a:path>
                <a:path w="474980" h="474980">
                  <a:moveTo>
                    <a:pt x="379717" y="237286"/>
                  </a:moveTo>
                  <a:lnTo>
                    <a:pt x="377863" y="228117"/>
                  </a:lnTo>
                  <a:lnTo>
                    <a:pt x="372821" y="220637"/>
                  </a:lnTo>
                  <a:lnTo>
                    <a:pt x="365340" y="215582"/>
                  </a:lnTo>
                  <a:lnTo>
                    <a:pt x="356171" y="213741"/>
                  </a:lnTo>
                  <a:lnTo>
                    <a:pt x="347002" y="215582"/>
                  </a:lnTo>
                  <a:lnTo>
                    <a:pt x="339509" y="220637"/>
                  </a:lnTo>
                  <a:lnTo>
                    <a:pt x="334467" y="228117"/>
                  </a:lnTo>
                  <a:lnTo>
                    <a:pt x="332625" y="237286"/>
                  </a:lnTo>
                  <a:lnTo>
                    <a:pt x="334467" y="246456"/>
                  </a:lnTo>
                  <a:lnTo>
                    <a:pt x="339509" y="253949"/>
                  </a:lnTo>
                  <a:lnTo>
                    <a:pt x="347002" y="258991"/>
                  </a:lnTo>
                  <a:lnTo>
                    <a:pt x="356171" y="260845"/>
                  </a:lnTo>
                  <a:lnTo>
                    <a:pt x="365340" y="258991"/>
                  </a:lnTo>
                  <a:lnTo>
                    <a:pt x="372821" y="253949"/>
                  </a:lnTo>
                  <a:lnTo>
                    <a:pt x="377863" y="246456"/>
                  </a:lnTo>
                  <a:lnTo>
                    <a:pt x="379717" y="237286"/>
                  </a:lnTo>
                  <a:close/>
                </a:path>
                <a:path w="474980" h="474980">
                  <a:moveTo>
                    <a:pt x="446747" y="344106"/>
                  </a:moveTo>
                  <a:lnTo>
                    <a:pt x="445909" y="332092"/>
                  </a:lnTo>
                  <a:lnTo>
                    <a:pt x="440639" y="321284"/>
                  </a:lnTo>
                  <a:lnTo>
                    <a:pt x="431292" y="313029"/>
                  </a:lnTo>
                  <a:lnTo>
                    <a:pt x="419468" y="309054"/>
                  </a:lnTo>
                  <a:lnTo>
                    <a:pt x="407454" y="309892"/>
                  </a:lnTo>
                  <a:lnTo>
                    <a:pt x="396621" y="315175"/>
                  </a:lnTo>
                  <a:lnTo>
                    <a:pt x="388378" y="324523"/>
                  </a:lnTo>
                  <a:lnTo>
                    <a:pt x="384403" y="336346"/>
                  </a:lnTo>
                  <a:lnTo>
                    <a:pt x="385241" y="348361"/>
                  </a:lnTo>
                  <a:lnTo>
                    <a:pt x="390525" y="359181"/>
                  </a:lnTo>
                  <a:lnTo>
                    <a:pt x="399872" y="367423"/>
                  </a:lnTo>
                  <a:lnTo>
                    <a:pt x="411695" y="371398"/>
                  </a:lnTo>
                  <a:lnTo>
                    <a:pt x="423710" y="370560"/>
                  </a:lnTo>
                  <a:lnTo>
                    <a:pt x="434530" y="365290"/>
                  </a:lnTo>
                  <a:lnTo>
                    <a:pt x="442772" y="355930"/>
                  </a:lnTo>
                  <a:lnTo>
                    <a:pt x="446747" y="344106"/>
                  </a:lnTo>
                  <a:close/>
                </a:path>
                <a:path w="474980" h="474980">
                  <a:moveTo>
                    <a:pt x="446747" y="130467"/>
                  </a:moveTo>
                  <a:lnTo>
                    <a:pt x="442772" y="118656"/>
                  </a:lnTo>
                  <a:lnTo>
                    <a:pt x="434530" y="109296"/>
                  </a:lnTo>
                  <a:lnTo>
                    <a:pt x="423710" y="104025"/>
                  </a:lnTo>
                  <a:lnTo>
                    <a:pt x="411695" y="103187"/>
                  </a:lnTo>
                  <a:lnTo>
                    <a:pt x="399872" y="107162"/>
                  </a:lnTo>
                  <a:lnTo>
                    <a:pt x="390525" y="115404"/>
                  </a:lnTo>
                  <a:lnTo>
                    <a:pt x="385241" y="126225"/>
                  </a:lnTo>
                  <a:lnTo>
                    <a:pt x="384403" y="138239"/>
                  </a:lnTo>
                  <a:lnTo>
                    <a:pt x="388378" y="150050"/>
                  </a:lnTo>
                  <a:lnTo>
                    <a:pt x="396633" y="159410"/>
                  </a:lnTo>
                  <a:lnTo>
                    <a:pt x="407454" y="164693"/>
                  </a:lnTo>
                  <a:lnTo>
                    <a:pt x="419455" y="165531"/>
                  </a:lnTo>
                  <a:lnTo>
                    <a:pt x="431279" y="161556"/>
                  </a:lnTo>
                  <a:lnTo>
                    <a:pt x="440639" y="153301"/>
                  </a:lnTo>
                  <a:lnTo>
                    <a:pt x="445909" y="142481"/>
                  </a:lnTo>
                  <a:lnTo>
                    <a:pt x="446747" y="130467"/>
                  </a:lnTo>
                  <a:close/>
                </a:path>
                <a:path w="474980" h="474980">
                  <a:moveTo>
                    <a:pt x="474573" y="237286"/>
                  </a:moveTo>
                  <a:lnTo>
                    <a:pt x="472109" y="225069"/>
                  </a:lnTo>
                  <a:lnTo>
                    <a:pt x="465366" y="215087"/>
                  </a:lnTo>
                  <a:lnTo>
                    <a:pt x="455383" y="208356"/>
                  </a:lnTo>
                  <a:lnTo>
                    <a:pt x="443153" y="205879"/>
                  </a:lnTo>
                  <a:lnTo>
                    <a:pt x="430936" y="208356"/>
                  </a:lnTo>
                  <a:lnTo>
                    <a:pt x="420941" y="215087"/>
                  </a:lnTo>
                  <a:lnTo>
                    <a:pt x="414210" y="225069"/>
                  </a:lnTo>
                  <a:lnTo>
                    <a:pt x="411746" y="237286"/>
                  </a:lnTo>
                  <a:lnTo>
                    <a:pt x="414210" y="249516"/>
                  </a:lnTo>
                  <a:lnTo>
                    <a:pt x="420941" y="259499"/>
                  </a:lnTo>
                  <a:lnTo>
                    <a:pt x="430936" y="266230"/>
                  </a:lnTo>
                  <a:lnTo>
                    <a:pt x="443153" y="268693"/>
                  </a:lnTo>
                  <a:lnTo>
                    <a:pt x="455383" y="266230"/>
                  </a:lnTo>
                  <a:lnTo>
                    <a:pt x="465366" y="259499"/>
                  </a:lnTo>
                  <a:lnTo>
                    <a:pt x="472109" y="249516"/>
                  </a:lnTo>
                  <a:lnTo>
                    <a:pt x="474573" y="237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82A69B8-8BA3-E9DC-7A9D-FA14853D36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14532EF3-B6F0-B76B-9CFE-47CDEDAE2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99" y="2513736"/>
            <a:ext cx="5310188" cy="1636991"/>
          </a:xfrm>
        </p:spPr>
        <p:txBody>
          <a:bodyPr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Presentation title 3 </a:t>
            </a:r>
            <a:br>
              <a:rPr lang="en-GB" dirty="0"/>
            </a:br>
            <a:r>
              <a:rPr lang="en-GB" dirty="0"/>
              <a:t>that can break over three lines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ACB6CFB-017C-07CB-C76D-D9162BE65281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  <a:solidFill>
            <a:schemeClr val="bg1"/>
          </a:solidFill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6AA5BB6-48E5-8E32-B4AA-B288D7B7E4A2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4D478FC-C1D6-0DE6-37C6-AA33FAD9B03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8137BB38-0D85-AF41-480D-149A509D2BC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3AD72DA-E868-B4DE-E8F7-70DDC92BB2E7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BD0C1D91-FFA1-5FDB-CEB8-B0B02CFC7AA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D82E447C-7A71-9209-D595-EE57E23B3EB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7" name="object 3">
            <a:extLst>
              <a:ext uri="{FF2B5EF4-FFF2-40B4-BE49-F238E27FC236}">
                <a16:creationId xmlns:a16="http://schemas.microsoft.com/office/drawing/2014/main" id="{C5EF4511-BC4F-0983-B1FD-B1C40AF754A9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58531630-32B9-1621-E0BF-AB57475FA4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2057891"/>
            <a:ext cx="5310188" cy="310352"/>
          </a:xfrm>
        </p:spPr>
        <p:txBody>
          <a:bodyPr/>
          <a:lstStyle>
            <a:lvl1pPr>
              <a:defRPr sz="1800" b="1" spc="-2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9A87186C-6BB8-7F54-1DBF-FCB960A850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33FD5A4-7D42-D272-408D-7CDD537F8F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623" y="4438553"/>
            <a:ext cx="4248150" cy="86302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400" spc="-8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800" spc="-40" baseline="0"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Presentation subtitle goes here over two lines if required. 24pt. </a:t>
            </a:r>
          </a:p>
        </p:txBody>
      </p:sp>
    </p:spTree>
    <p:extLst>
      <p:ext uri="{BB962C8B-B14F-4D97-AF65-F5344CB8AC3E}">
        <p14:creationId xmlns:p14="http://schemas.microsoft.com/office/powerpoint/2010/main" val="1253227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4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Points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59" y="1153525"/>
            <a:ext cx="52992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2E8299F-10C0-3D54-F5EA-775E5DDC85E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473980" y="2762250"/>
            <a:ext cx="5040000" cy="29972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buSzPct val="120000"/>
              <a:defRPr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/>
            </a:lvl6pPr>
          </a:lstStyle>
          <a:p>
            <a:pPr lvl="0"/>
            <a:r>
              <a:rPr lang="en-US" dirty="0"/>
              <a:t>Body Copy 15pt</a:t>
            </a:r>
          </a:p>
          <a:p>
            <a:pPr lvl="1"/>
            <a:r>
              <a:rPr lang="en-US" dirty="0"/>
              <a:t>Bullet 15pt</a:t>
            </a:r>
          </a:p>
          <a:p>
            <a:pPr lvl="2"/>
            <a:r>
              <a:rPr lang="en-US" dirty="0"/>
              <a:t>Subheading 17pt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F51DF53-7A57-7591-630A-332C29C31FCA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473980" y="1153525"/>
            <a:ext cx="5040000" cy="465103"/>
          </a:xfrm>
        </p:spPr>
        <p:txBody>
          <a:bodyPr/>
          <a:lstStyle>
            <a:lvl1pPr>
              <a:defRPr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latin typeface="+mn-lt"/>
              </a:defRPr>
            </a:lvl2pPr>
            <a:lvl3pPr>
              <a:defRPr sz="2200" b="0">
                <a:latin typeface="+mn-lt"/>
                <a:cs typeface="UKCEH Suisse Semibold" panose="020B0704000000000000" pitchFamily="34" charset="-78"/>
              </a:defRPr>
            </a:lvl3pPr>
            <a:lvl4pPr>
              <a:defRPr>
                <a:latin typeface="+mn-lt"/>
              </a:defRPr>
            </a:lvl4pPr>
            <a:lvl5pPr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/>
            </a:lvl6pPr>
          </a:lstStyle>
          <a:p>
            <a:pPr lvl="0"/>
            <a:r>
              <a:rPr lang="en-US" dirty="0"/>
              <a:t>Subheading 17pt 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1702EC5-562E-39F2-8F3D-7AA4FD745D56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42760" y="2095172"/>
            <a:ext cx="4945216" cy="3663950"/>
          </a:xfrm>
        </p:spPr>
        <p:txBody>
          <a:bodyPr/>
          <a:lstStyle>
            <a:lvl1pPr marL="263525" indent="0">
              <a:defRPr>
                <a:latin typeface="+mn-lt"/>
              </a:defRPr>
            </a:lvl1pPr>
            <a:lvl2pPr marL="442913" indent="-179388">
              <a:defRPr>
                <a:latin typeface="+mn-lt"/>
              </a:defRPr>
            </a:lvl2pPr>
            <a:lvl3pPr marL="263525" indent="0">
              <a:defRPr>
                <a:latin typeface="+mn-lt"/>
              </a:defRPr>
            </a:lvl3pPr>
            <a:lvl4pPr marL="263525" indent="-263525">
              <a:buSzPct val="100000"/>
              <a:buFont typeface="UKCEH Suisse" panose="020B0504000000000000" pitchFamily="34" charset="-78"/>
              <a:buChar char="•"/>
              <a:defRPr>
                <a:latin typeface="+mn-lt"/>
              </a:defRPr>
            </a:lvl4pPr>
            <a:lvl5pPr marL="263525" indent="0">
              <a:defRPr b="1">
                <a:latin typeface="+mn-lt"/>
              </a:defRPr>
            </a:lvl5pPr>
            <a:lvl6pPr marL="263525" indent="0">
              <a:defRPr>
                <a:latin typeface="+mn-lt"/>
              </a:defRPr>
            </a:lvl6pPr>
            <a:lvl7pPr marL="263525" indent="0">
              <a:defRPr>
                <a:latin typeface="+mn-lt"/>
              </a:defRPr>
            </a:lvl7pPr>
            <a:lvl8pPr marL="263525" indent="0">
              <a:defRPr>
                <a:latin typeface="+mn-lt"/>
              </a:defRPr>
            </a:lvl8pPr>
            <a:lvl9pPr marL="263525" indent="0">
              <a:defRPr>
                <a:latin typeface="+mn-lt"/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5453A234-6964-4519-60B5-0E3D491246E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2195" y="6089950"/>
            <a:ext cx="11327045" cy="47118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52772647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Copy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996876B-8780-17E3-0308-C75C806CE87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sX0" fmla="*/ 4443128 w 12192000"/>
              <a:gd name="csY0" fmla="*/ 782150 h 6858000"/>
              <a:gd name="csX1" fmla="*/ 4332287 w 12192000"/>
              <a:gd name="csY1" fmla="*/ 892991 h 6858000"/>
              <a:gd name="csX2" fmla="*/ 4332287 w 12192000"/>
              <a:gd name="csY2" fmla="*/ 6450296 h 6858000"/>
              <a:gd name="csX3" fmla="*/ 4443128 w 12192000"/>
              <a:gd name="csY3" fmla="*/ 6561137 h 6858000"/>
              <a:gd name="csX4" fmla="*/ 11781121 w 12192000"/>
              <a:gd name="csY4" fmla="*/ 6561137 h 6858000"/>
              <a:gd name="csX5" fmla="*/ 11891962 w 12192000"/>
              <a:gd name="csY5" fmla="*/ 6450296 h 6858000"/>
              <a:gd name="csX6" fmla="*/ 11891962 w 12192000"/>
              <a:gd name="csY6" fmla="*/ 892991 h 6858000"/>
              <a:gd name="csX7" fmla="*/ 11781121 w 12192000"/>
              <a:gd name="csY7" fmla="*/ 782150 h 6858000"/>
              <a:gd name="csX8" fmla="*/ 0 w 12192000"/>
              <a:gd name="csY8" fmla="*/ 0 h 6858000"/>
              <a:gd name="csX9" fmla="*/ 12192000 w 12192000"/>
              <a:gd name="csY9" fmla="*/ 0 h 6858000"/>
              <a:gd name="csX10" fmla="*/ 12192000 w 12192000"/>
              <a:gd name="csY10" fmla="*/ 6858000 h 6858000"/>
              <a:gd name="csX11" fmla="*/ 0 w 12192000"/>
              <a:gd name="csY11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2192000" h="6858000">
                <a:moveTo>
                  <a:pt x="4443128" y="782150"/>
                </a:moveTo>
                <a:cubicBezTo>
                  <a:pt x="4381912" y="782150"/>
                  <a:pt x="4332287" y="831775"/>
                  <a:pt x="4332287" y="892991"/>
                </a:cubicBezTo>
                <a:lnTo>
                  <a:pt x="4332287" y="6450296"/>
                </a:lnTo>
                <a:cubicBezTo>
                  <a:pt x="4332287" y="6511512"/>
                  <a:pt x="4381912" y="6561137"/>
                  <a:pt x="4443128" y="6561137"/>
                </a:cubicBezTo>
                <a:lnTo>
                  <a:pt x="11781121" y="6561137"/>
                </a:lnTo>
                <a:cubicBezTo>
                  <a:pt x="11842337" y="6561137"/>
                  <a:pt x="11891962" y="6511512"/>
                  <a:pt x="11891962" y="6450296"/>
                </a:cubicBezTo>
                <a:lnTo>
                  <a:pt x="11891962" y="892991"/>
                </a:lnTo>
                <a:cubicBezTo>
                  <a:pt x="11891962" y="831775"/>
                  <a:pt x="11842337" y="782150"/>
                  <a:pt x="11781121" y="78215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60" y="1153525"/>
            <a:ext cx="3529166" cy="465103"/>
          </a:xfrm>
        </p:spPr>
        <p:txBody>
          <a:bodyPr/>
          <a:lstStyle>
            <a:lvl1pPr>
              <a:defRPr sz="32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3529166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2E8299F-10C0-3D54-F5EA-775E5DDC85E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679951" y="2095500"/>
            <a:ext cx="6724650" cy="36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F51DF53-7A57-7591-630A-332C29C31FCA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679950" y="1153525"/>
            <a:ext cx="6724650" cy="63204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2200" b="0">
                <a:solidFill>
                  <a:schemeClr val="tx1"/>
                </a:solidFill>
                <a:latin typeface="+mj-lt"/>
                <a:cs typeface="UKCEH Suisse Medium" panose="020B06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heading 22p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F945F9-0E47-5AD3-7D09-78C317E628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760" y="2095500"/>
            <a:ext cx="3529166" cy="36639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>
              <a:defRPr sz="1500"/>
            </a:lvl6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  <a:p>
            <a:pPr lvl="8"/>
            <a:endParaRPr lang="en-GB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4C0B12A-829E-DCC6-5EDF-96C3D6461A49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7BCD38FF-6A88-F0C3-7AAB-743F765988CE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2C91007F-1B66-BF9B-46C2-CE94DBF659A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B02CE5E4-780C-3A4B-D890-037155C3F47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9D2FCDEC-00EE-F122-23F8-280B11FA64CB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CB2F9D36-AF5A-BEA4-C007-6AAF3914BB4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EB151F6A-F227-4E6E-77D7-0BF2AAE543F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0" name="object 3">
            <a:extLst>
              <a:ext uri="{FF2B5EF4-FFF2-40B4-BE49-F238E27FC236}">
                <a16:creationId xmlns:a16="http://schemas.microsoft.com/office/drawing/2014/main" id="{7E7F73EB-0437-6B0A-FDE4-C39194656996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1" name="object 8">
            <a:extLst>
              <a:ext uri="{FF2B5EF4-FFF2-40B4-BE49-F238E27FC236}">
                <a16:creationId xmlns:a16="http://schemas.microsoft.com/office/drawing/2014/main" id="{6386E776-22C5-7B20-519A-18FEEEEAFD6C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2" name="object 9">
            <a:extLst>
              <a:ext uri="{FF2B5EF4-FFF2-40B4-BE49-F238E27FC236}">
                <a16:creationId xmlns:a16="http://schemas.microsoft.com/office/drawing/2014/main" id="{442C297F-BB52-0230-35F2-7933423C4B91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832C64-0521-2434-BC38-1082516759A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679950" y="6089951"/>
            <a:ext cx="7069290" cy="334662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311521535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Char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FA1225B4-9AFE-C765-9443-404DA18886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sX0" fmla="*/ 387755 w 12192000"/>
              <a:gd name="csY0" fmla="*/ 782151 h 6858000"/>
              <a:gd name="csX1" fmla="*/ 277813 w 12192000"/>
              <a:gd name="csY1" fmla="*/ 892093 h 6858000"/>
              <a:gd name="csX2" fmla="*/ 277813 w 12192000"/>
              <a:gd name="csY2" fmla="*/ 6451195 h 6858000"/>
              <a:gd name="csX3" fmla="*/ 387755 w 12192000"/>
              <a:gd name="csY3" fmla="*/ 6561137 h 6858000"/>
              <a:gd name="csX4" fmla="*/ 5899978 w 12192000"/>
              <a:gd name="csY4" fmla="*/ 6561137 h 6858000"/>
              <a:gd name="csX5" fmla="*/ 6009920 w 12192000"/>
              <a:gd name="csY5" fmla="*/ 6451195 h 6858000"/>
              <a:gd name="csX6" fmla="*/ 6009920 w 12192000"/>
              <a:gd name="csY6" fmla="*/ 892093 h 6858000"/>
              <a:gd name="csX7" fmla="*/ 5899978 w 12192000"/>
              <a:gd name="csY7" fmla="*/ 782151 h 6858000"/>
              <a:gd name="csX8" fmla="*/ 6299285 w 12192000"/>
              <a:gd name="csY8" fmla="*/ 782150 h 6858000"/>
              <a:gd name="csX9" fmla="*/ 6189920 w 12192000"/>
              <a:gd name="csY9" fmla="*/ 891515 h 6858000"/>
              <a:gd name="csX10" fmla="*/ 6189920 w 12192000"/>
              <a:gd name="csY10" fmla="*/ 6451772 h 6858000"/>
              <a:gd name="csX11" fmla="*/ 6299285 w 12192000"/>
              <a:gd name="csY11" fmla="*/ 6561137 h 6858000"/>
              <a:gd name="csX12" fmla="*/ 11782598 w 12192000"/>
              <a:gd name="csY12" fmla="*/ 6561137 h 6858000"/>
              <a:gd name="csX13" fmla="*/ 11891963 w 12192000"/>
              <a:gd name="csY13" fmla="*/ 6451772 h 6858000"/>
              <a:gd name="csX14" fmla="*/ 11891963 w 12192000"/>
              <a:gd name="csY14" fmla="*/ 891515 h 6858000"/>
              <a:gd name="csX15" fmla="*/ 11782598 w 12192000"/>
              <a:gd name="csY15" fmla="*/ 782150 h 6858000"/>
              <a:gd name="csX16" fmla="*/ 0 w 12192000"/>
              <a:gd name="csY16" fmla="*/ 0 h 6858000"/>
              <a:gd name="csX17" fmla="*/ 12192000 w 12192000"/>
              <a:gd name="csY17" fmla="*/ 0 h 6858000"/>
              <a:gd name="csX18" fmla="*/ 12192000 w 12192000"/>
              <a:gd name="csY18" fmla="*/ 6858000 h 6858000"/>
              <a:gd name="csX19" fmla="*/ 0 w 12192000"/>
              <a:gd name="csY19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12192000" h="6858000">
                <a:moveTo>
                  <a:pt x="387755" y="782151"/>
                </a:moveTo>
                <a:cubicBezTo>
                  <a:pt x="327036" y="782151"/>
                  <a:pt x="277813" y="831374"/>
                  <a:pt x="277813" y="892093"/>
                </a:cubicBezTo>
                <a:lnTo>
                  <a:pt x="277813" y="6451195"/>
                </a:lnTo>
                <a:cubicBezTo>
                  <a:pt x="277813" y="6511914"/>
                  <a:pt x="327036" y="6561137"/>
                  <a:pt x="387755" y="6561137"/>
                </a:cubicBezTo>
                <a:lnTo>
                  <a:pt x="5899978" y="6561137"/>
                </a:lnTo>
                <a:cubicBezTo>
                  <a:pt x="5960697" y="6561137"/>
                  <a:pt x="6009920" y="6511914"/>
                  <a:pt x="6009920" y="6451195"/>
                </a:cubicBezTo>
                <a:lnTo>
                  <a:pt x="6009920" y="892093"/>
                </a:lnTo>
                <a:cubicBezTo>
                  <a:pt x="6009920" y="831374"/>
                  <a:pt x="5960697" y="782151"/>
                  <a:pt x="5899978" y="782151"/>
                </a:cubicBezTo>
                <a:close/>
                <a:moveTo>
                  <a:pt x="6299285" y="782150"/>
                </a:moveTo>
                <a:cubicBezTo>
                  <a:pt x="6238884" y="782150"/>
                  <a:pt x="6189920" y="831114"/>
                  <a:pt x="6189920" y="891515"/>
                </a:cubicBezTo>
                <a:lnTo>
                  <a:pt x="6189920" y="6451772"/>
                </a:lnTo>
                <a:cubicBezTo>
                  <a:pt x="6189920" y="6512173"/>
                  <a:pt x="6238884" y="6561137"/>
                  <a:pt x="6299285" y="6561137"/>
                </a:cubicBezTo>
                <a:lnTo>
                  <a:pt x="11782598" y="6561137"/>
                </a:lnTo>
                <a:cubicBezTo>
                  <a:pt x="11842999" y="6561137"/>
                  <a:pt x="11891963" y="6512173"/>
                  <a:pt x="11891963" y="6451772"/>
                </a:cubicBezTo>
                <a:lnTo>
                  <a:pt x="11891963" y="891515"/>
                </a:lnTo>
                <a:cubicBezTo>
                  <a:pt x="11891963" y="831114"/>
                  <a:pt x="11842999" y="782150"/>
                  <a:pt x="11782598" y="78215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2E8299F-10C0-3D54-F5EA-775E5DDC85E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3866" y="2095500"/>
            <a:ext cx="5040000" cy="2998789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6"/>
            <a:r>
              <a:rPr lang="en-US" dirty="0"/>
              <a:t>Body Copy 22pt</a:t>
            </a:r>
          </a:p>
          <a:p>
            <a:pPr lvl="7"/>
            <a:r>
              <a:rPr lang="en-US" dirty="0"/>
              <a:t>Bullet 22pt</a:t>
            </a:r>
          </a:p>
          <a:p>
            <a:pPr lvl="8"/>
            <a:r>
              <a:rPr lang="en-US" dirty="0"/>
              <a:t>Subheading 24pt 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9FDD02B-0F00-0863-3AD3-4F2B71200ED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520941" y="2095501"/>
            <a:ext cx="5040000" cy="2998788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6"/>
            <a:r>
              <a:rPr lang="en-US" dirty="0"/>
              <a:t>Body Copy 22pt</a:t>
            </a:r>
          </a:p>
          <a:p>
            <a:pPr lvl="7"/>
            <a:r>
              <a:rPr lang="en-US" dirty="0"/>
              <a:t>Bullet 22pt</a:t>
            </a:r>
          </a:p>
          <a:p>
            <a:pPr lvl="8"/>
            <a:r>
              <a:rPr lang="en-US" dirty="0"/>
              <a:t>Subheading 24pt 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0F13B41-F28A-250E-CF8F-CD5602034DC8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23866" y="1071659"/>
            <a:ext cx="5040000" cy="63204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2200" b="0">
                <a:solidFill>
                  <a:schemeClr val="tx1"/>
                </a:solidFill>
                <a:latin typeface="+mj-lt"/>
                <a:cs typeface="UKCEH Suisse Medium" panose="020B06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heading 22pt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4A0BE7B-A022-929F-7620-760547156F84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520941" y="1096964"/>
            <a:ext cx="5040000" cy="63204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2200" b="0">
                <a:solidFill>
                  <a:schemeClr val="tx1"/>
                </a:solidFill>
                <a:latin typeface="+mj-lt"/>
                <a:cs typeface="UKCEH Suisse Medium" panose="020B06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heading 22pt </a:t>
            </a:r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B3B549B9-2805-2306-462A-8C93C2786CA6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F5D3FF9-B3BC-46B0-C98B-8A1ADD142231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1A88413-2D3D-4E73-2702-1DBAA70E1C4A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5CDB6DB0-D403-F80C-CFE3-E0102DA67D9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2BDA4C64-D991-F5F6-55F2-AFFC079C661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88984EE-F5FC-55FC-E678-6D0C4307C8EC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9CA07727-D72F-1CC7-1A32-B7FA43CC764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113ED8ED-9ABC-3146-AFF5-3141B3C3ECD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4" name="object 8">
            <a:extLst>
              <a:ext uri="{FF2B5EF4-FFF2-40B4-BE49-F238E27FC236}">
                <a16:creationId xmlns:a16="http://schemas.microsoft.com/office/drawing/2014/main" id="{2B4878A3-6CAE-64F7-6260-3E0A8145EDFC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5" name="object 9">
            <a:extLst>
              <a:ext uri="{FF2B5EF4-FFF2-40B4-BE49-F238E27FC236}">
                <a16:creationId xmlns:a16="http://schemas.microsoft.com/office/drawing/2014/main" id="{F5896C94-88BE-5C56-9599-8AE6E2A924F4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554B99C-CE4F-D577-D32F-BA7C717E641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2195" y="6089951"/>
            <a:ext cx="5241671" cy="334662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AAE7594A-F452-D468-CE3E-FDF0E5F7BF25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528136" y="6089951"/>
            <a:ext cx="5241671" cy="334662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361965093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Light Char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FA1225B4-9AFE-C765-9443-404DA18886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sX0" fmla="*/ 387755 w 12192000"/>
              <a:gd name="csY0" fmla="*/ 782151 h 6858000"/>
              <a:gd name="csX1" fmla="*/ 277813 w 12192000"/>
              <a:gd name="csY1" fmla="*/ 892093 h 6858000"/>
              <a:gd name="csX2" fmla="*/ 277813 w 12192000"/>
              <a:gd name="csY2" fmla="*/ 6451195 h 6858000"/>
              <a:gd name="csX3" fmla="*/ 387755 w 12192000"/>
              <a:gd name="csY3" fmla="*/ 6561137 h 6858000"/>
              <a:gd name="csX4" fmla="*/ 5899978 w 12192000"/>
              <a:gd name="csY4" fmla="*/ 6561137 h 6858000"/>
              <a:gd name="csX5" fmla="*/ 6009920 w 12192000"/>
              <a:gd name="csY5" fmla="*/ 6451195 h 6858000"/>
              <a:gd name="csX6" fmla="*/ 6009920 w 12192000"/>
              <a:gd name="csY6" fmla="*/ 892093 h 6858000"/>
              <a:gd name="csX7" fmla="*/ 5899978 w 12192000"/>
              <a:gd name="csY7" fmla="*/ 782151 h 6858000"/>
              <a:gd name="csX8" fmla="*/ 6299285 w 12192000"/>
              <a:gd name="csY8" fmla="*/ 782150 h 6858000"/>
              <a:gd name="csX9" fmla="*/ 6189920 w 12192000"/>
              <a:gd name="csY9" fmla="*/ 891515 h 6858000"/>
              <a:gd name="csX10" fmla="*/ 6189920 w 12192000"/>
              <a:gd name="csY10" fmla="*/ 6451772 h 6858000"/>
              <a:gd name="csX11" fmla="*/ 6299285 w 12192000"/>
              <a:gd name="csY11" fmla="*/ 6561137 h 6858000"/>
              <a:gd name="csX12" fmla="*/ 11782598 w 12192000"/>
              <a:gd name="csY12" fmla="*/ 6561137 h 6858000"/>
              <a:gd name="csX13" fmla="*/ 11891963 w 12192000"/>
              <a:gd name="csY13" fmla="*/ 6451772 h 6858000"/>
              <a:gd name="csX14" fmla="*/ 11891963 w 12192000"/>
              <a:gd name="csY14" fmla="*/ 891515 h 6858000"/>
              <a:gd name="csX15" fmla="*/ 11782598 w 12192000"/>
              <a:gd name="csY15" fmla="*/ 782150 h 6858000"/>
              <a:gd name="csX16" fmla="*/ 0 w 12192000"/>
              <a:gd name="csY16" fmla="*/ 0 h 6858000"/>
              <a:gd name="csX17" fmla="*/ 12192000 w 12192000"/>
              <a:gd name="csY17" fmla="*/ 0 h 6858000"/>
              <a:gd name="csX18" fmla="*/ 12192000 w 12192000"/>
              <a:gd name="csY18" fmla="*/ 6858000 h 6858000"/>
              <a:gd name="csX19" fmla="*/ 0 w 12192000"/>
              <a:gd name="csY19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12192000" h="6858000">
                <a:moveTo>
                  <a:pt x="387755" y="782151"/>
                </a:moveTo>
                <a:cubicBezTo>
                  <a:pt x="327036" y="782151"/>
                  <a:pt x="277813" y="831374"/>
                  <a:pt x="277813" y="892093"/>
                </a:cubicBezTo>
                <a:lnTo>
                  <a:pt x="277813" y="6451195"/>
                </a:lnTo>
                <a:cubicBezTo>
                  <a:pt x="277813" y="6511914"/>
                  <a:pt x="327036" y="6561137"/>
                  <a:pt x="387755" y="6561137"/>
                </a:cubicBezTo>
                <a:lnTo>
                  <a:pt x="5899978" y="6561137"/>
                </a:lnTo>
                <a:cubicBezTo>
                  <a:pt x="5960697" y="6561137"/>
                  <a:pt x="6009920" y="6511914"/>
                  <a:pt x="6009920" y="6451195"/>
                </a:cubicBezTo>
                <a:lnTo>
                  <a:pt x="6009920" y="892093"/>
                </a:lnTo>
                <a:cubicBezTo>
                  <a:pt x="6009920" y="831374"/>
                  <a:pt x="5960697" y="782151"/>
                  <a:pt x="5899978" y="782151"/>
                </a:cubicBezTo>
                <a:close/>
                <a:moveTo>
                  <a:pt x="6299285" y="782150"/>
                </a:moveTo>
                <a:cubicBezTo>
                  <a:pt x="6238884" y="782150"/>
                  <a:pt x="6189920" y="831114"/>
                  <a:pt x="6189920" y="891515"/>
                </a:cubicBezTo>
                <a:lnTo>
                  <a:pt x="6189920" y="6451772"/>
                </a:lnTo>
                <a:cubicBezTo>
                  <a:pt x="6189920" y="6512173"/>
                  <a:pt x="6238884" y="6561137"/>
                  <a:pt x="6299285" y="6561137"/>
                </a:cubicBezTo>
                <a:lnTo>
                  <a:pt x="11782598" y="6561137"/>
                </a:lnTo>
                <a:cubicBezTo>
                  <a:pt x="11842999" y="6561137"/>
                  <a:pt x="11891963" y="6512173"/>
                  <a:pt x="11891963" y="6451772"/>
                </a:cubicBezTo>
                <a:lnTo>
                  <a:pt x="11891963" y="891515"/>
                </a:lnTo>
                <a:cubicBezTo>
                  <a:pt x="11891963" y="831114"/>
                  <a:pt x="11842999" y="782150"/>
                  <a:pt x="11782598" y="78215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9FDD02B-0F00-0863-3AD3-4F2B71200ED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520941" y="2095501"/>
            <a:ext cx="5040000" cy="2998788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6"/>
            <a:r>
              <a:rPr lang="en-US" dirty="0"/>
              <a:t>Body Copy 22pt</a:t>
            </a:r>
          </a:p>
          <a:p>
            <a:pPr lvl="7"/>
            <a:r>
              <a:rPr lang="en-US" dirty="0"/>
              <a:t>Bullet 22pt</a:t>
            </a:r>
          </a:p>
          <a:p>
            <a:pPr lvl="8"/>
            <a:r>
              <a:rPr lang="en-US" dirty="0"/>
              <a:t>Subheading 24pt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4A0BE7B-A022-929F-7620-760547156F84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520941" y="1096964"/>
            <a:ext cx="5040000" cy="63204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2200" b="0">
                <a:solidFill>
                  <a:schemeClr val="tx1"/>
                </a:solidFill>
                <a:latin typeface="+mj-lt"/>
                <a:cs typeface="UKCEH Suisse Medium" panose="020B06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heading 22pt </a:t>
            </a:r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B3B549B9-2805-2306-462A-8C93C2786CA6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F5D3FF9-B3BC-46B0-C98B-8A1ADD142231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1A88413-2D3D-4E73-2702-1DBAA70E1C4A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5CDB6DB0-D403-F80C-CFE3-E0102DA67D9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2BDA4C64-D991-F5F6-55F2-AFFC079C661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88984EE-F5FC-55FC-E678-6D0C4307C8EC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9CA07727-D72F-1CC7-1A32-B7FA43CC764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113ED8ED-9ABC-3146-AFF5-3141B3C3ECD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4" name="object 8">
            <a:extLst>
              <a:ext uri="{FF2B5EF4-FFF2-40B4-BE49-F238E27FC236}">
                <a16:creationId xmlns:a16="http://schemas.microsoft.com/office/drawing/2014/main" id="{2B4878A3-6CAE-64F7-6260-3E0A8145EDFC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5" name="object 9">
            <a:extLst>
              <a:ext uri="{FF2B5EF4-FFF2-40B4-BE49-F238E27FC236}">
                <a16:creationId xmlns:a16="http://schemas.microsoft.com/office/drawing/2014/main" id="{F5896C94-88BE-5C56-9599-8AE6E2A924F4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36FD3BE-0773-0CE4-7595-73AE2CE7DB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77813" y="782150"/>
            <a:ext cx="5732107" cy="5778986"/>
          </a:xfrm>
          <a:custGeom>
            <a:avLst/>
            <a:gdLst>
              <a:gd name="csX0" fmla="*/ 109942 w 5732107"/>
              <a:gd name="csY0" fmla="*/ 0 h 5778986"/>
              <a:gd name="csX1" fmla="*/ 5622165 w 5732107"/>
              <a:gd name="csY1" fmla="*/ 0 h 5778986"/>
              <a:gd name="csX2" fmla="*/ 5732107 w 5732107"/>
              <a:gd name="csY2" fmla="*/ 109942 h 5778986"/>
              <a:gd name="csX3" fmla="*/ 5732107 w 5732107"/>
              <a:gd name="csY3" fmla="*/ 5669044 h 5778986"/>
              <a:gd name="csX4" fmla="*/ 5622165 w 5732107"/>
              <a:gd name="csY4" fmla="*/ 5778986 h 5778986"/>
              <a:gd name="csX5" fmla="*/ 109942 w 5732107"/>
              <a:gd name="csY5" fmla="*/ 5778986 h 5778986"/>
              <a:gd name="csX6" fmla="*/ 0 w 5732107"/>
              <a:gd name="csY6" fmla="*/ 5669044 h 5778986"/>
              <a:gd name="csX7" fmla="*/ 0 w 5732107"/>
              <a:gd name="csY7" fmla="*/ 109942 h 5778986"/>
              <a:gd name="csX8" fmla="*/ 109942 w 5732107"/>
              <a:gd name="csY8" fmla="*/ 0 h 577898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5732107" h="5778986">
                <a:moveTo>
                  <a:pt x="109942" y="0"/>
                </a:moveTo>
                <a:lnTo>
                  <a:pt x="5622165" y="0"/>
                </a:lnTo>
                <a:cubicBezTo>
                  <a:pt x="5682884" y="0"/>
                  <a:pt x="5732107" y="49223"/>
                  <a:pt x="5732107" y="109942"/>
                </a:cubicBezTo>
                <a:lnTo>
                  <a:pt x="5732107" y="5669044"/>
                </a:lnTo>
                <a:cubicBezTo>
                  <a:pt x="5732107" y="5729763"/>
                  <a:pt x="5682884" y="5778986"/>
                  <a:pt x="5622165" y="5778986"/>
                </a:cubicBezTo>
                <a:lnTo>
                  <a:pt x="109942" y="5778986"/>
                </a:lnTo>
                <a:cubicBezTo>
                  <a:pt x="49223" y="5778986"/>
                  <a:pt x="0" y="5729763"/>
                  <a:pt x="0" y="5669044"/>
                </a:cubicBezTo>
                <a:lnTo>
                  <a:pt x="0" y="109942"/>
                </a:lnTo>
                <a:cubicBezTo>
                  <a:pt x="0" y="49223"/>
                  <a:pt x="49223" y="0"/>
                  <a:pt x="109942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C4765824-C98C-931E-D59A-D9F33A99C52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448425" y="6089951"/>
            <a:ext cx="5310188" cy="334662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25113939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Light Chart Comparison 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65FD1440-4935-7D49-646D-2208403477E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custGeom>
            <a:avLst/>
            <a:gdLst>
              <a:gd name="csX0" fmla="*/ 387755 w 12192000"/>
              <a:gd name="csY0" fmla="*/ 782151 h 6858000"/>
              <a:gd name="csX1" fmla="*/ 277813 w 12192000"/>
              <a:gd name="csY1" fmla="*/ 892093 h 6858000"/>
              <a:gd name="csX2" fmla="*/ 277813 w 12192000"/>
              <a:gd name="csY2" fmla="*/ 6451195 h 6858000"/>
              <a:gd name="csX3" fmla="*/ 387755 w 12192000"/>
              <a:gd name="csY3" fmla="*/ 6561137 h 6858000"/>
              <a:gd name="csX4" fmla="*/ 5899978 w 12192000"/>
              <a:gd name="csY4" fmla="*/ 6561137 h 6858000"/>
              <a:gd name="csX5" fmla="*/ 6009920 w 12192000"/>
              <a:gd name="csY5" fmla="*/ 6451195 h 6858000"/>
              <a:gd name="csX6" fmla="*/ 6009920 w 12192000"/>
              <a:gd name="csY6" fmla="*/ 892093 h 6858000"/>
              <a:gd name="csX7" fmla="*/ 5899978 w 12192000"/>
              <a:gd name="csY7" fmla="*/ 782151 h 6858000"/>
              <a:gd name="csX8" fmla="*/ 6097379 w 12192000"/>
              <a:gd name="csY8" fmla="*/ 782150 h 6858000"/>
              <a:gd name="csX9" fmla="*/ 6097379 w 12192000"/>
              <a:gd name="csY9" fmla="*/ 6561136 h 6858000"/>
              <a:gd name="csX10" fmla="*/ 6299280 w 12192000"/>
              <a:gd name="csY10" fmla="*/ 6561136 h 6858000"/>
              <a:gd name="csX11" fmla="*/ 6299285 w 12192000"/>
              <a:gd name="csY11" fmla="*/ 6561137 h 6858000"/>
              <a:gd name="csX12" fmla="*/ 11782598 w 12192000"/>
              <a:gd name="csY12" fmla="*/ 6561137 h 6858000"/>
              <a:gd name="csX13" fmla="*/ 11891963 w 12192000"/>
              <a:gd name="csY13" fmla="*/ 6451772 h 6858000"/>
              <a:gd name="csX14" fmla="*/ 11891963 w 12192000"/>
              <a:gd name="csY14" fmla="*/ 891515 h 6858000"/>
              <a:gd name="csX15" fmla="*/ 11782598 w 12192000"/>
              <a:gd name="csY15" fmla="*/ 782150 h 6858000"/>
              <a:gd name="csX16" fmla="*/ 7625300 w 12192000"/>
              <a:gd name="csY16" fmla="*/ 782150 h 6858000"/>
              <a:gd name="csX17" fmla="*/ 6299285 w 12192000"/>
              <a:gd name="csY17" fmla="*/ 782150 h 6858000"/>
              <a:gd name="csX18" fmla="*/ 0 w 12192000"/>
              <a:gd name="csY18" fmla="*/ 0 h 6858000"/>
              <a:gd name="csX19" fmla="*/ 12192000 w 12192000"/>
              <a:gd name="csY19" fmla="*/ 0 h 6858000"/>
              <a:gd name="csX20" fmla="*/ 12192000 w 12192000"/>
              <a:gd name="csY20" fmla="*/ 6858000 h 6858000"/>
              <a:gd name="csX21" fmla="*/ 0 w 12192000"/>
              <a:gd name="csY21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2192000" h="6858000">
                <a:moveTo>
                  <a:pt x="387755" y="782151"/>
                </a:moveTo>
                <a:cubicBezTo>
                  <a:pt x="327036" y="782151"/>
                  <a:pt x="277813" y="831374"/>
                  <a:pt x="277813" y="892093"/>
                </a:cubicBezTo>
                <a:lnTo>
                  <a:pt x="277813" y="6451195"/>
                </a:lnTo>
                <a:cubicBezTo>
                  <a:pt x="277813" y="6511914"/>
                  <a:pt x="327036" y="6561137"/>
                  <a:pt x="387755" y="6561137"/>
                </a:cubicBezTo>
                <a:lnTo>
                  <a:pt x="5899978" y="6561137"/>
                </a:lnTo>
                <a:cubicBezTo>
                  <a:pt x="5960697" y="6561137"/>
                  <a:pt x="6009920" y="6511914"/>
                  <a:pt x="6009920" y="6451195"/>
                </a:cubicBezTo>
                <a:lnTo>
                  <a:pt x="6009920" y="892093"/>
                </a:lnTo>
                <a:cubicBezTo>
                  <a:pt x="6009920" y="831374"/>
                  <a:pt x="5960697" y="782151"/>
                  <a:pt x="5899978" y="782151"/>
                </a:cubicBezTo>
                <a:close/>
                <a:moveTo>
                  <a:pt x="6097379" y="782150"/>
                </a:moveTo>
                <a:lnTo>
                  <a:pt x="6097379" y="6561136"/>
                </a:lnTo>
                <a:lnTo>
                  <a:pt x="6299280" y="6561136"/>
                </a:lnTo>
                <a:lnTo>
                  <a:pt x="6299285" y="6561137"/>
                </a:lnTo>
                <a:lnTo>
                  <a:pt x="11782598" y="6561137"/>
                </a:lnTo>
                <a:cubicBezTo>
                  <a:pt x="11842999" y="6561137"/>
                  <a:pt x="11891963" y="6512173"/>
                  <a:pt x="11891963" y="6451772"/>
                </a:cubicBezTo>
                <a:lnTo>
                  <a:pt x="11891963" y="891515"/>
                </a:lnTo>
                <a:cubicBezTo>
                  <a:pt x="11891963" y="831114"/>
                  <a:pt x="11842999" y="782150"/>
                  <a:pt x="11782598" y="782150"/>
                </a:cubicBezTo>
                <a:lnTo>
                  <a:pt x="7625300" y="782150"/>
                </a:lnTo>
                <a:lnTo>
                  <a:pt x="6299285" y="7821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B3B549B9-2805-2306-462A-8C93C2786CA6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F5D3FF9-B3BC-46B0-C98B-8A1ADD142231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1A88413-2D3D-4E73-2702-1DBAA70E1C4A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5CDB6DB0-D403-F80C-CFE3-E0102DA67D9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2BDA4C64-D991-F5F6-55F2-AFFC079C661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88984EE-F5FC-55FC-E678-6D0C4307C8EC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9CA07727-D72F-1CC7-1A32-B7FA43CC764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113ED8ED-9ABC-3146-AFF5-3141B3C3ECD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4" name="object 8">
            <a:extLst>
              <a:ext uri="{FF2B5EF4-FFF2-40B4-BE49-F238E27FC236}">
                <a16:creationId xmlns:a16="http://schemas.microsoft.com/office/drawing/2014/main" id="{2B4878A3-6CAE-64F7-6260-3E0A8145EDFC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5" name="object 9">
            <a:extLst>
              <a:ext uri="{FF2B5EF4-FFF2-40B4-BE49-F238E27FC236}">
                <a16:creationId xmlns:a16="http://schemas.microsoft.com/office/drawing/2014/main" id="{F5896C94-88BE-5C56-9599-8AE6E2A924F4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A25670B-5E91-CCE3-BD06-E0B317012F3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 flipH="1">
            <a:off x="6114063" y="782150"/>
            <a:ext cx="5819568" cy="5778986"/>
          </a:xfrm>
          <a:custGeom>
            <a:avLst/>
            <a:gdLst>
              <a:gd name="csX0" fmla="*/ 109942 w 5819568"/>
              <a:gd name="csY0" fmla="*/ 0 h 5778986"/>
              <a:gd name="csX1" fmla="*/ 779568 w 5819568"/>
              <a:gd name="csY1" fmla="*/ 0 h 5778986"/>
              <a:gd name="csX2" fmla="*/ 5622165 w 5819568"/>
              <a:gd name="csY2" fmla="*/ 0 h 5778986"/>
              <a:gd name="csX3" fmla="*/ 5819568 w 5819568"/>
              <a:gd name="csY3" fmla="*/ 0 h 5778986"/>
              <a:gd name="csX4" fmla="*/ 5819568 w 5819568"/>
              <a:gd name="csY4" fmla="*/ 5778986 h 5778986"/>
              <a:gd name="csX5" fmla="*/ 5622165 w 5819568"/>
              <a:gd name="csY5" fmla="*/ 5778986 h 5778986"/>
              <a:gd name="csX6" fmla="*/ 779568 w 5819568"/>
              <a:gd name="csY6" fmla="*/ 5778986 h 5778986"/>
              <a:gd name="csX7" fmla="*/ 109942 w 5819568"/>
              <a:gd name="csY7" fmla="*/ 5778986 h 5778986"/>
              <a:gd name="csX8" fmla="*/ 0 w 5819568"/>
              <a:gd name="csY8" fmla="*/ 5669044 h 5778986"/>
              <a:gd name="csX9" fmla="*/ 0 w 5819568"/>
              <a:gd name="csY9" fmla="*/ 109942 h 5778986"/>
              <a:gd name="csX10" fmla="*/ 109942 w 5819568"/>
              <a:gd name="csY10" fmla="*/ 0 h 577898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5819568" h="5778986">
                <a:moveTo>
                  <a:pt x="109942" y="0"/>
                </a:moveTo>
                <a:lnTo>
                  <a:pt x="779568" y="0"/>
                </a:lnTo>
                <a:lnTo>
                  <a:pt x="5622165" y="0"/>
                </a:lnTo>
                <a:lnTo>
                  <a:pt x="5819568" y="0"/>
                </a:lnTo>
                <a:lnTo>
                  <a:pt x="5819568" y="5778986"/>
                </a:lnTo>
                <a:lnTo>
                  <a:pt x="5622165" y="5778986"/>
                </a:lnTo>
                <a:lnTo>
                  <a:pt x="779568" y="5778986"/>
                </a:lnTo>
                <a:lnTo>
                  <a:pt x="109942" y="5778986"/>
                </a:lnTo>
                <a:cubicBezTo>
                  <a:pt x="49223" y="5778986"/>
                  <a:pt x="0" y="5729763"/>
                  <a:pt x="0" y="5669044"/>
                </a:cubicBezTo>
                <a:lnTo>
                  <a:pt x="0" y="109942"/>
                </a:lnTo>
                <a:cubicBezTo>
                  <a:pt x="0" y="49223"/>
                  <a:pt x="49223" y="0"/>
                  <a:pt x="109942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F9704BC-5034-C703-FB86-CF30172A02E8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3866" y="2095500"/>
            <a:ext cx="5040000" cy="2998789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b="1"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6"/>
            <a:r>
              <a:rPr lang="en-US" dirty="0"/>
              <a:t>Body Copy 22pt</a:t>
            </a:r>
          </a:p>
          <a:p>
            <a:pPr lvl="7"/>
            <a:r>
              <a:rPr lang="en-US" dirty="0"/>
              <a:t>Bullet 22pt</a:t>
            </a:r>
          </a:p>
          <a:p>
            <a:pPr lvl="8"/>
            <a:r>
              <a:rPr lang="en-US" dirty="0"/>
              <a:t>Subheading 24pt 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A8F4AF7-AEAD-2C99-B0BC-A0F7468ACD9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23866" y="1071659"/>
            <a:ext cx="5040000" cy="63204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  <a:lvl2pPr>
              <a:buSzPct val="120000"/>
              <a:defRPr>
                <a:solidFill>
                  <a:schemeClr val="tx1"/>
                </a:solidFill>
                <a:latin typeface="+mn-lt"/>
              </a:defRPr>
            </a:lvl2pPr>
            <a:lvl3pPr>
              <a:defRPr sz="2200" b="0">
                <a:solidFill>
                  <a:schemeClr val="tx1"/>
                </a:solidFill>
                <a:latin typeface="+mj-lt"/>
                <a:cs typeface="UKCEH Suisse Medium" panose="020B0604000000000000" pitchFamily="34" charset="-78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heading 22pt 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F511505-F151-BA5E-2DDA-221EEFB7F4A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2195" y="6089951"/>
            <a:ext cx="5241671" cy="334662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42138218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59" y="1153525"/>
            <a:ext cx="52992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2C1559-5C0F-9C52-FE1A-97813BBEE78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201863" y="2095501"/>
            <a:ext cx="9202737" cy="39973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 b="0"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>
              <a:defRPr sz="2200"/>
            </a:lvl6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B1C62D1-B4F0-B853-B835-90DF229542C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2195" y="6089950"/>
            <a:ext cx="11327045" cy="47118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144531491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Stat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9FE482F4-4096-230A-531E-9FAAA8E472B4}"/>
              </a:ext>
            </a:extLst>
          </p:cNvPr>
          <p:cNvSpPr/>
          <p:nvPr userDrawn="1"/>
        </p:nvSpPr>
        <p:spPr>
          <a:xfrm>
            <a:off x="277814" y="1219887"/>
            <a:ext cx="5464174" cy="4884576"/>
          </a:xfrm>
          <a:custGeom>
            <a:avLst/>
            <a:gdLst>
              <a:gd name="csX0" fmla="*/ 128709 w 5464174"/>
              <a:gd name="csY0" fmla="*/ 0 h 4884576"/>
              <a:gd name="csX1" fmla="*/ 1190747 w 5464174"/>
              <a:gd name="csY1" fmla="*/ 0 h 4884576"/>
              <a:gd name="csX2" fmla="*/ 4011193 w 5464174"/>
              <a:gd name="csY2" fmla="*/ 0 h 4884576"/>
              <a:gd name="csX3" fmla="*/ 5073231 w 5464174"/>
              <a:gd name="csY3" fmla="*/ 0 h 4884576"/>
              <a:gd name="csX4" fmla="*/ 5073237 w 5464174"/>
              <a:gd name="csY4" fmla="*/ 1 h 4884576"/>
              <a:gd name="csX5" fmla="*/ 5464174 w 5464174"/>
              <a:gd name="csY5" fmla="*/ 1 h 4884576"/>
              <a:gd name="csX6" fmla="*/ 5464174 w 5464174"/>
              <a:gd name="csY6" fmla="*/ 4884576 h 4884576"/>
              <a:gd name="csX7" fmla="*/ 4402136 w 5464174"/>
              <a:gd name="csY7" fmla="*/ 4884576 h 4884576"/>
              <a:gd name="csX8" fmla="*/ 2704635 w 5464174"/>
              <a:gd name="csY8" fmla="*/ 4884576 h 4884576"/>
              <a:gd name="csX9" fmla="*/ 1642597 w 5464174"/>
              <a:gd name="csY9" fmla="*/ 4884576 h 4884576"/>
              <a:gd name="csX10" fmla="*/ 1642593 w 5464174"/>
              <a:gd name="csY10" fmla="*/ 4884575 h 4884576"/>
              <a:gd name="csX11" fmla="*/ 1190747 w 5464174"/>
              <a:gd name="csY11" fmla="*/ 4884575 h 4884576"/>
              <a:gd name="csX12" fmla="*/ 128709 w 5464174"/>
              <a:gd name="csY12" fmla="*/ 4884575 h 4884576"/>
              <a:gd name="csX13" fmla="*/ 0 w 5464174"/>
              <a:gd name="csY13" fmla="*/ 4788168 h 4884576"/>
              <a:gd name="csX14" fmla="*/ 0 w 5464174"/>
              <a:gd name="csY14" fmla="*/ 96407 h 4884576"/>
              <a:gd name="csX15" fmla="*/ 128709 w 5464174"/>
              <a:gd name="csY15" fmla="*/ 0 h 48845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5464174" h="4884576">
                <a:moveTo>
                  <a:pt x="128709" y="0"/>
                </a:moveTo>
                <a:lnTo>
                  <a:pt x="1190747" y="0"/>
                </a:lnTo>
                <a:lnTo>
                  <a:pt x="4011193" y="0"/>
                </a:lnTo>
                <a:lnTo>
                  <a:pt x="5073231" y="0"/>
                </a:lnTo>
                <a:lnTo>
                  <a:pt x="5073237" y="1"/>
                </a:lnTo>
                <a:lnTo>
                  <a:pt x="5464174" y="1"/>
                </a:lnTo>
                <a:lnTo>
                  <a:pt x="5464174" y="4884576"/>
                </a:lnTo>
                <a:lnTo>
                  <a:pt x="4402136" y="4884576"/>
                </a:lnTo>
                <a:lnTo>
                  <a:pt x="2704635" y="4884576"/>
                </a:lnTo>
                <a:lnTo>
                  <a:pt x="1642597" y="4884576"/>
                </a:lnTo>
                <a:lnTo>
                  <a:pt x="1642593" y="4884575"/>
                </a:lnTo>
                <a:lnTo>
                  <a:pt x="1190747" y="4884575"/>
                </a:lnTo>
                <a:lnTo>
                  <a:pt x="128709" y="4884575"/>
                </a:lnTo>
                <a:cubicBezTo>
                  <a:pt x="57625" y="4884575"/>
                  <a:pt x="0" y="4841412"/>
                  <a:pt x="0" y="4788168"/>
                </a:cubicBezTo>
                <a:lnTo>
                  <a:pt x="0" y="96407"/>
                </a:lnTo>
                <a:cubicBezTo>
                  <a:pt x="0" y="43163"/>
                  <a:pt x="57625" y="0"/>
                  <a:pt x="128709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F51DF53-7A57-7591-630A-332C29C31FCA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42761" y="1219262"/>
            <a:ext cx="3889526" cy="1602766"/>
          </a:xfrm>
        </p:spPr>
        <p:txBody>
          <a:bodyPr lIns="144000" tIns="216000" rIns="144000" bIns="216000" anchor="ctr"/>
          <a:lstStyle>
            <a:lvl1pPr>
              <a:lnSpc>
                <a:spcPct val="80000"/>
              </a:lnSpc>
              <a:defRPr sz="4800">
                <a:solidFill>
                  <a:schemeClr val="accent2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SzPct val="120000"/>
              <a:buNone/>
              <a:defRPr sz="2200">
                <a:solidFill>
                  <a:schemeClr val="accent2"/>
                </a:solidFill>
                <a:latin typeface="+mn-lt"/>
              </a:defRPr>
            </a:lvl2pPr>
            <a:lvl3pPr>
              <a:defRPr sz="1400" b="1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Add net lin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6D9C5968-DE71-FB45-C1AE-4C28FBE9CE4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42761" y="2857092"/>
            <a:ext cx="3889528" cy="1602766"/>
          </a:xfrm>
        </p:spPr>
        <p:txBody>
          <a:bodyPr lIns="144000" tIns="216000" rIns="144000" bIns="216000" anchor="ctr"/>
          <a:lstStyle>
            <a:lvl1pPr>
              <a:lnSpc>
                <a:spcPct val="80000"/>
              </a:lnSpc>
              <a:defRPr sz="4800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SzPct val="120000"/>
              <a:buNone/>
              <a:defRPr sz="2200">
                <a:solidFill>
                  <a:schemeClr val="bg2"/>
                </a:solidFill>
                <a:latin typeface="+mn-lt"/>
              </a:defRPr>
            </a:lvl2pPr>
            <a:lvl3pPr>
              <a:defRPr sz="1400" b="1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Add net lin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EB609316-6B6B-27AA-BC0E-DA05F3B4DA6A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442761" y="4494922"/>
            <a:ext cx="3889527" cy="1602766"/>
          </a:xfrm>
        </p:spPr>
        <p:txBody>
          <a:bodyPr lIns="144000" tIns="216000" rIns="144000" bIns="216000" anchor="ctr"/>
          <a:lstStyle>
            <a:lvl1pPr>
              <a:lnSpc>
                <a:spcPct val="80000"/>
              </a:lnSpc>
              <a:defRPr sz="480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SzPct val="120000"/>
              <a:buNone/>
              <a:defRPr sz="2200">
                <a:solidFill>
                  <a:schemeClr val="tx2"/>
                </a:solidFill>
                <a:latin typeface="+mn-lt"/>
              </a:defRPr>
            </a:lvl2pPr>
            <a:lvl3pPr>
              <a:defRPr sz="1400" b="1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UKCEH Suisse Semibold" panose="020B0704000000000000" pitchFamily="34" charset="-78"/>
                <a:cs typeface="UKCEH Suisse Semibold" panose="020B0704000000000000" pitchFamily="34" charset="-78"/>
              </a:defRPr>
            </a:lvl5pPr>
            <a:lvl6pPr marL="358775" indent="-179388">
              <a:buSzPct val="130000"/>
              <a:buFont typeface="Wingdings" panose="05000000000000000000" pitchFamily="2" charset="2"/>
              <a:buChar char=""/>
              <a:defRPr sz="15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Add net lin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3E909C-D1DC-74B6-E269-18545E9EB2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813" y="754161"/>
            <a:ext cx="11298685" cy="465103"/>
          </a:xfrm>
        </p:spPr>
        <p:txBody>
          <a:bodyPr/>
          <a:lstStyle>
            <a:lvl1pPr>
              <a:defRPr sz="2800" spc="-10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03C6A9F-1637-C1FD-167A-434953633F2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705904" y="1219263"/>
            <a:ext cx="7186061" cy="4885200"/>
          </a:xfrm>
          <a:custGeom>
            <a:avLst/>
            <a:gdLst>
              <a:gd name="csX0" fmla="*/ 1207523 w 7186061"/>
              <a:gd name="csY0" fmla="*/ 0 h 4873561"/>
              <a:gd name="csX1" fmla="*/ 1522889 w 7186061"/>
              <a:gd name="csY1" fmla="*/ 0 h 4873561"/>
              <a:gd name="csX2" fmla="*/ 6772219 w 7186061"/>
              <a:gd name="csY2" fmla="*/ 0 h 4873561"/>
              <a:gd name="csX3" fmla="*/ 7087586 w 7186061"/>
              <a:gd name="csY3" fmla="*/ 0 h 4873561"/>
              <a:gd name="csX4" fmla="*/ 7186061 w 7186061"/>
              <a:gd name="csY4" fmla="*/ 96204 h 4873561"/>
              <a:gd name="csX5" fmla="*/ 7186061 w 7186061"/>
              <a:gd name="csY5" fmla="*/ 4777357 h 4873561"/>
              <a:gd name="csX6" fmla="*/ 7087586 w 7186061"/>
              <a:gd name="csY6" fmla="*/ 4873561 h 4873561"/>
              <a:gd name="csX7" fmla="*/ 6772219 w 7186061"/>
              <a:gd name="csY7" fmla="*/ 4873561 h 4873561"/>
              <a:gd name="csX8" fmla="*/ 1522889 w 7186061"/>
              <a:gd name="csY8" fmla="*/ 4873561 h 4873561"/>
              <a:gd name="csX9" fmla="*/ 1207523 w 7186061"/>
              <a:gd name="csY9" fmla="*/ 4873561 h 4873561"/>
              <a:gd name="csX10" fmla="*/ 328060 w 7186061"/>
              <a:gd name="csY10" fmla="*/ 4873561 h 4873561"/>
              <a:gd name="csX11" fmla="*/ 328060 w 7186061"/>
              <a:gd name="csY11" fmla="*/ 1 h 4873561"/>
              <a:gd name="csX12" fmla="*/ 0 w 7186061"/>
              <a:gd name="csY12" fmla="*/ 1 h 4873561"/>
              <a:gd name="csX13" fmla="*/ 0 w 7186061"/>
              <a:gd name="csY13" fmla="*/ 1 h 48735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7186061" h="4873561">
                <a:moveTo>
                  <a:pt x="1207523" y="0"/>
                </a:moveTo>
                <a:lnTo>
                  <a:pt x="1522889" y="0"/>
                </a:lnTo>
                <a:lnTo>
                  <a:pt x="6772219" y="0"/>
                </a:lnTo>
                <a:lnTo>
                  <a:pt x="7087586" y="0"/>
                </a:lnTo>
                <a:cubicBezTo>
                  <a:pt x="7141972" y="0"/>
                  <a:pt x="7186061" y="43072"/>
                  <a:pt x="7186061" y="96204"/>
                </a:cubicBezTo>
                <a:lnTo>
                  <a:pt x="7186061" y="4777357"/>
                </a:lnTo>
                <a:cubicBezTo>
                  <a:pt x="7186061" y="4830489"/>
                  <a:pt x="7141972" y="4873561"/>
                  <a:pt x="7087586" y="4873561"/>
                </a:cubicBezTo>
                <a:lnTo>
                  <a:pt x="6772219" y="4873561"/>
                </a:lnTo>
                <a:lnTo>
                  <a:pt x="1522889" y="4873561"/>
                </a:lnTo>
                <a:lnTo>
                  <a:pt x="1207523" y="4873561"/>
                </a:lnTo>
                <a:lnTo>
                  <a:pt x="328060" y="4873561"/>
                </a:lnTo>
                <a:lnTo>
                  <a:pt x="328060" y="1"/>
                </a:lnTo>
                <a:lnTo>
                  <a:pt x="0" y="1"/>
                </a:lnTo>
                <a:lnTo>
                  <a:pt x="0" y="1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70655829-A031-056F-0DA6-6DAE38A5FEFE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22195" y="6089950"/>
            <a:ext cx="11327045" cy="47118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34463315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59" y="1153525"/>
            <a:ext cx="52992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 18pt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1702EC5-562E-39F2-8F3D-7AA4FD745D56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42760" y="2095172"/>
            <a:ext cx="4945216" cy="3663950"/>
          </a:xfrm>
        </p:spPr>
        <p:txBody>
          <a:bodyPr/>
          <a:lstStyle>
            <a:lvl1pPr marL="263525" indent="0">
              <a:defRPr>
                <a:latin typeface="+mn-lt"/>
              </a:defRPr>
            </a:lvl1pPr>
            <a:lvl2pPr marL="442913" indent="-179388">
              <a:defRPr>
                <a:latin typeface="+mn-lt"/>
              </a:defRPr>
            </a:lvl2pPr>
            <a:lvl3pPr marL="263525" indent="0">
              <a:defRPr>
                <a:latin typeface="+mn-lt"/>
              </a:defRPr>
            </a:lvl3pPr>
            <a:lvl4pPr marL="263525" indent="-263525">
              <a:buSzPct val="100000"/>
              <a:buFont typeface="UKCEH Suisse" panose="020B0504000000000000" pitchFamily="34" charset="-78"/>
              <a:buChar char="•"/>
              <a:defRPr>
                <a:latin typeface="+mn-lt"/>
              </a:defRPr>
            </a:lvl4pPr>
            <a:lvl5pPr marL="263525" indent="0">
              <a:defRPr b="1">
                <a:latin typeface="+mn-lt"/>
              </a:defRPr>
            </a:lvl5pPr>
            <a:lvl6pPr marL="263525" indent="0">
              <a:defRPr>
                <a:latin typeface="+mn-lt"/>
              </a:defRPr>
            </a:lvl6pPr>
            <a:lvl7pPr marL="263525" indent="0">
              <a:defRPr>
                <a:latin typeface="+mn-lt"/>
              </a:defRPr>
            </a:lvl7pPr>
            <a:lvl8pPr marL="263525" indent="0">
              <a:defRPr>
                <a:latin typeface="+mn-lt"/>
              </a:defRPr>
            </a:lvl8pPr>
            <a:lvl9pPr marL="263525" indent="0">
              <a:defRPr>
                <a:latin typeface="+mn-lt"/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D6C190B-0185-73FD-A7E2-1D2F1C5DA4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5999" y="782150"/>
            <a:ext cx="5795963" cy="5778987"/>
          </a:xfrm>
          <a:custGeom>
            <a:avLst/>
            <a:gdLst>
              <a:gd name="connsiteX0" fmla="*/ 110841 w 5795963"/>
              <a:gd name="connsiteY0" fmla="*/ 0 h 5778987"/>
              <a:gd name="connsiteX1" fmla="*/ 5685122 w 5795963"/>
              <a:gd name="connsiteY1" fmla="*/ 0 h 5778987"/>
              <a:gd name="connsiteX2" fmla="*/ 5795963 w 5795963"/>
              <a:gd name="connsiteY2" fmla="*/ 110841 h 5778987"/>
              <a:gd name="connsiteX3" fmla="*/ 5795963 w 5795963"/>
              <a:gd name="connsiteY3" fmla="*/ 5668146 h 5778987"/>
              <a:gd name="connsiteX4" fmla="*/ 5685122 w 5795963"/>
              <a:gd name="connsiteY4" fmla="*/ 5778987 h 5778987"/>
              <a:gd name="connsiteX5" fmla="*/ 110841 w 5795963"/>
              <a:gd name="connsiteY5" fmla="*/ 5778987 h 5778987"/>
              <a:gd name="connsiteX6" fmla="*/ 0 w 5795963"/>
              <a:gd name="connsiteY6" fmla="*/ 5668146 h 5778987"/>
              <a:gd name="connsiteX7" fmla="*/ 0 w 5795963"/>
              <a:gd name="connsiteY7" fmla="*/ 110841 h 5778987"/>
              <a:gd name="connsiteX8" fmla="*/ 110841 w 5795963"/>
              <a:gd name="connsiteY8" fmla="*/ 0 h 5778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795963" h="5778987">
                <a:moveTo>
                  <a:pt x="110841" y="0"/>
                </a:moveTo>
                <a:lnTo>
                  <a:pt x="5685122" y="0"/>
                </a:lnTo>
                <a:cubicBezTo>
                  <a:pt x="5746338" y="0"/>
                  <a:pt x="5795963" y="49625"/>
                  <a:pt x="5795963" y="110841"/>
                </a:cubicBezTo>
                <a:lnTo>
                  <a:pt x="5795963" y="5668146"/>
                </a:lnTo>
                <a:cubicBezTo>
                  <a:pt x="5795963" y="5729362"/>
                  <a:pt x="5746338" y="5778987"/>
                  <a:pt x="5685122" y="5778987"/>
                </a:cubicBezTo>
                <a:lnTo>
                  <a:pt x="110841" y="5778987"/>
                </a:lnTo>
                <a:cubicBezTo>
                  <a:pt x="49625" y="5778987"/>
                  <a:pt x="0" y="5729362"/>
                  <a:pt x="0" y="5668146"/>
                </a:cubicBezTo>
                <a:lnTo>
                  <a:pt x="0" y="110841"/>
                </a:lnTo>
                <a:cubicBezTo>
                  <a:pt x="0" y="49625"/>
                  <a:pt x="49625" y="0"/>
                  <a:pt x="11084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C96C1627-5841-344A-D8D2-2C33343A1C38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22195" y="6089950"/>
            <a:ext cx="11327045" cy="47118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41665790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s + 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F2BBD90-99AE-57ED-0EE4-2429D1F4DF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sX0" fmla="*/ 6096000 w 12192000"/>
              <a:gd name="csY0" fmla="*/ 502172 h 6858000"/>
              <a:gd name="csX1" fmla="*/ 6096000 w 12192000"/>
              <a:gd name="csY1" fmla="*/ 6857911 h 6858000"/>
              <a:gd name="csX2" fmla="*/ 12191567 w 12192000"/>
              <a:gd name="csY2" fmla="*/ 6857911 h 6858000"/>
              <a:gd name="csX3" fmla="*/ 12191567 w 12192000"/>
              <a:gd name="csY3" fmla="*/ 502172 h 6858000"/>
              <a:gd name="csX4" fmla="*/ 0 w 12192000"/>
              <a:gd name="csY4" fmla="*/ 0 h 6858000"/>
              <a:gd name="csX5" fmla="*/ 12192000 w 12192000"/>
              <a:gd name="csY5" fmla="*/ 0 h 6858000"/>
              <a:gd name="csX6" fmla="*/ 12192000 w 12192000"/>
              <a:gd name="csY6" fmla="*/ 6858000 h 6858000"/>
              <a:gd name="csX7" fmla="*/ 0 w 12192000"/>
              <a:gd name="csY7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12192000" h="6858000">
                <a:moveTo>
                  <a:pt x="6096000" y="502172"/>
                </a:moveTo>
                <a:lnTo>
                  <a:pt x="6096000" y="6857911"/>
                </a:lnTo>
                <a:lnTo>
                  <a:pt x="12191567" y="6857911"/>
                </a:lnTo>
                <a:lnTo>
                  <a:pt x="12191567" y="5021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65614E7-C9FD-C576-C62C-2E2C15AF1B3F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9ED1D42-3B79-1F04-9C47-A22E0BCFC6E9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A7C76E58-CDC6-E2DC-FB3C-7F447B5207B6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1028930C-0740-41CD-0FF6-8EB58A8DA66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B71B722-6F7B-61D4-551D-3D3A21AB423E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5E3029DC-FF37-C314-4CAA-E646DCBEF04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18920F36-0F71-BBE1-D9E1-7A76612CD7C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7E8783-FE25-296F-8714-54A40DF71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59" y="1153525"/>
            <a:ext cx="5299229" cy="465103"/>
          </a:xfrm>
        </p:spPr>
        <p:txBody>
          <a:bodyPr/>
          <a:lstStyle>
            <a:lvl1pPr>
              <a:defRPr sz="4000" spc="-11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Slide Title 40pt</a:t>
            </a:r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AD473AC6-35D0-7F28-141A-A75AA066A8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196" y="768049"/>
            <a:ext cx="5310188" cy="310352"/>
          </a:xfrm>
        </p:spPr>
        <p:txBody>
          <a:bodyPr bIns="36000" anchor="b"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 18pt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1702EC5-562E-39F2-8F3D-7AA4FD745D56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42760" y="2095172"/>
            <a:ext cx="4945216" cy="3663950"/>
          </a:xfrm>
        </p:spPr>
        <p:txBody>
          <a:bodyPr/>
          <a:lstStyle>
            <a:lvl1pPr marL="263525" indent="0">
              <a:defRPr>
                <a:latin typeface="+mn-lt"/>
              </a:defRPr>
            </a:lvl1pPr>
            <a:lvl2pPr marL="442913" indent="-179388">
              <a:defRPr>
                <a:latin typeface="+mn-lt"/>
              </a:defRPr>
            </a:lvl2pPr>
            <a:lvl3pPr marL="263525" indent="0">
              <a:defRPr>
                <a:latin typeface="+mn-lt"/>
              </a:defRPr>
            </a:lvl3pPr>
            <a:lvl4pPr marL="263525" indent="-263525">
              <a:buSzPct val="100000"/>
              <a:buFont typeface="UKCEH Suisse" panose="020B0504000000000000" pitchFamily="34" charset="-78"/>
              <a:buChar char="•"/>
              <a:defRPr>
                <a:latin typeface="+mn-lt"/>
              </a:defRPr>
            </a:lvl4pPr>
            <a:lvl5pPr marL="263525" indent="0">
              <a:defRPr b="1">
                <a:latin typeface="+mn-lt"/>
              </a:defRPr>
            </a:lvl5pPr>
            <a:lvl6pPr marL="263525" indent="0">
              <a:defRPr>
                <a:latin typeface="+mn-lt"/>
              </a:defRPr>
            </a:lvl6pPr>
            <a:lvl7pPr marL="263525" indent="0">
              <a:defRPr>
                <a:latin typeface="+mn-lt"/>
              </a:defRPr>
            </a:lvl7pPr>
            <a:lvl8pPr marL="263525" indent="0">
              <a:defRPr>
                <a:latin typeface="+mn-lt"/>
              </a:defRPr>
            </a:lvl8pPr>
            <a:lvl9pPr marL="263525" indent="0">
              <a:defRPr>
                <a:latin typeface="+mn-lt"/>
              </a:defRPr>
            </a:lvl9pPr>
          </a:lstStyle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D7B7A546-66ED-6B8F-318B-BAF4F176FC2C}"/>
              </a:ext>
            </a:extLst>
          </p:cNvPr>
          <p:cNvSpPr/>
          <p:nvPr userDrawn="1"/>
        </p:nvSpPr>
        <p:spPr>
          <a:xfrm>
            <a:off x="127419" y="509667"/>
            <a:ext cx="5976000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8215D865-AC46-D526-BD9B-84675A8C9327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7" name="object 9">
            <a:extLst>
              <a:ext uri="{FF2B5EF4-FFF2-40B4-BE49-F238E27FC236}">
                <a16:creationId xmlns:a16="http://schemas.microsoft.com/office/drawing/2014/main" id="{94739B5C-EFD0-2FC3-F88F-7E2583C85458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FACAF5E-78EB-113A-31FE-2EAB2FFC2CC2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483323" y="981309"/>
            <a:ext cx="5422519" cy="5421709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A4ECAD62-197C-0E87-1FAD-C6B952336202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22196" y="6089950"/>
            <a:ext cx="5681224" cy="47118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103453986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8F3036E-F920-F98C-8706-2B631246133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3E909C-D1DC-74B6-E269-18545E9EB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7813" y="754161"/>
            <a:ext cx="11298685" cy="465103"/>
          </a:xfrm>
        </p:spPr>
        <p:txBody>
          <a:bodyPr/>
          <a:lstStyle>
            <a:lvl1pPr>
              <a:defRPr sz="2800" spc="-100" baseline="0">
                <a:latin typeface="UKCEH Suisse Medium" panose="020B0604000000000000" pitchFamily="34" charset="-78"/>
                <a:cs typeface="UKCEH Suisse Medium" panose="020B0604000000000000" pitchFamily="34" charset="-78"/>
              </a:defRPr>
            </a:lvl1pPr>
          </a:lstStyle>
          <a:p>
            <a:r>
              <a:rPr lang="en-US" dirty="0"/>
              <a:t>Image Title 28pt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1DB9517-380B-E731-16C5-312AB7658FA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77813" y="1219264"/>
            <a:ext cx="5735076" cy="4540186"/>
          </a:xfrm>
          <a:prstGeom prst="roundRect">
            <a:avLst>
              <a:gd name="adj" fmla="val 1974"/>
            </a:avLst>
          </a:prstGeom>
          <a:noFill/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EB1C213F-A56B-0AEA-514F-CC7689297AF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56889" y="1219264"/>
            <a:ext cx="5735076" cy="4540186"/>
          </a:xfrm>
          <a:prstGeom prst="roundRect">
            <a:avLst>
              <a:gd name="adj" fmla="val 1974"/>
            </a:avLst>
          </a:prstGeom>
          <a:noFill/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922A71CF-B5C5-232B-EF81-5E13B286A8BB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422195" y="6089950"/>
            <a:ext cx="11327045" cy="47118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200"/>
              </a:spcAft>
              <a:defRPr sz="1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200"/>
              </a:spcAft>
              <a:buNone/>
              <a:defRPr sz="1000">
                <a:solidFill>
                  <a:schemeClr val="tx1"/>
                </a:solidFill>
              </a:defRPr>
            </a:lvl2pPr>
            <a:lvl3pPr marL="87313" indent="-87313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  <a:defRPr sz="1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</a:p>
          <a:p>
            <a:pPr lvl="1"/>
            <a:r>
              <a:rPr lang="en-US" dirty="0"/>
              <a:t>Footnote</a:t>
            </a:r>
          </a:p>
          <a:p>
            <a:pPr lvl="2"/>
            <a:r>
              <a:rPr lang="en-US" dirty="0"/>
              <a:t>Numbered</a:t>
            </a:r>
          </a:p>
        </p:txBody>
      </p:sp>
    </p:spTree>
    <p:extLst>
      <p:ext uri="{BB962C8B-B14F-4D97-AF65-F5344CB8AC3E}">
        <p14:creationId xmlns:p14="http://schemas.microsoft.com/office/powerpoint/2010/main" val="33720989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nd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ject 9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184893" y="736548"/>
            <a:ext cx="5782405" cy="5782405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EC763B1-4CBB-9747-FBB3-F524D99EF5C8}"/>
              </a:ext>
            </a:extLst>
          </p:cNvPr>
          <p:cNvGrpSpPr/>
          <p:nvPr userDrawn="1"/>
        </p:nvGrpSpPr>
        <p:grpSpPr>
          <a:xfrm>
            <a:off x="143595" y="135785"/>
            <a:ext cx="1089185" cy="288028"/>
            <a:chOff x="143595" y="135785"/>
            <a:chExt cx="1089185" cy="288028"/>
          </a:xfrm>
          <a:solidFill>
            <a:schemeClr val="bg1"/>
          </a:solidFill>
        </p:grpSpPr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11BC098D-8670-1613-A0B1-8B6FCABEC146}"/>
                </a:ext>
              </a:extLst>
            </p:cNvPr>
            <p:cNvSpPr/>
            <p:nvPr userDrawn="1"/>
          </p:nvSpPr>
          <p:spPr>
            <a:xfrm>
              <a:off x="478824" y="191457"/>
              <a:ext cx="753956" cy="175204"/>
            </a:xfrm>
            <a:custGeom>
              <a:avLst/>
              <a:gdLst/>
              <a:ahLst/>
              <a:cxnLst/>
              <a:rect l="l" t="t" r="r" b="b"/>
              <a:pathLst>
                <a:path w="1243330" h="288925">
                  <a:moveTo>
                    <a:pt x="39223" y="4994"/>
                  </a:moveTo>
                  <a:lnTo>
                    <a:pt x="0" y="4994"/>
                  </a:lnTo>
                  <a:lnTo>
                    <a:pt x="0" y="170361"/>
                  </a:lnTo>
                  <a:lnTo>
                    <a:pt x="6495" y="225537"/>
                  </a:lnTo>
                  <a:lnTo>
                    <a:pt x="26582" y="262179"/>
                  </a:lnTo>
                  <a:lnTo>
                    <a:pt x="61163" y="282523"/>
                  </a:lnTo>
                  <a:lnTo>
                    <a:pt x="111137" y="288807"/>
                  </a:lnTo>
                  <a:lnTo>
                    <a:pt x="162919" y="281285"/>
                  </a:lnTo>
                  <a:lnTo>
                    <a:pt x="197719" y="258621"/>
                  </a:lnTo>
                  <a:lnTo>
                    <a:pt x="199605" y="254966"/>
                  </a:lnTo>
                  <a:lnTo>
                    <a:pt x="111137" y="254966"/>
                  </a:lnTo>
                  <a:lnTo>
                    <a:pt x="77840" y="250140"/>
                  </a:lnTo>
                  <a:lnTo>
                    <a:pt x="55571" y="235401"/>
                  </a:lnTo>
                  <a:lnTo>
                    <a:pt x="43106" y="210350"/>
                  </a:lnTo>
                  <a:lnTo>
                    <a:pt x="39223" y="174591"/>
                  </a:lnTo>
                  <a:lnTo>
                    <a:pt x="39223" y="4994"/>
                  </a:lnTo>
                  <a:close/>
                </a:path>
                <a:path w="1243330" h="288925">
                  <a:moveTo>
                    <a:pt x="223438" y="4994"/>
                  </a:moveTo>
                  <a:lnTo>
                    <a:pt x="184214" y="4994"/>
                  </a:lnTo>
                  <a:lnTo>
                    <a:pt x="184214" y="170361"/>
                  </a:lnTo>
                  <a:lnTo>
                    <a:pt x="180314" y="206781"/>
                  </a:lnTo>
                  <a:lnTo>
                    <a:pt x="167725" y="233286"/>
                  </a:lnTo>
                  <a:lnTo>
                    <a:pt x="145111" y="249479"/>
                  </a:lnTo>
                  <a:lnTo>
                    <a:pt x="111137" y="254966"/>
                  </a:lnTo>
                  <a:lnTo>
                    <a:pt x="199605" y="254966"/>
                  </a:lnTo>
                  <a:lnTo>
                    <a:pt x="217302" y="220669"/>
                  </a:lnTo>
                  <a:lnTo>
                    <a:pt x="223438" y="167282"/>
                  </a:lnTo>
                  <a:lnTo>
                    <a:pt x="223438" y="4994"/>
                  </a:lnTo>
                  <a:close/>
                </a:path>
                <a:path w="1243330" h="288925">
                  <a:moveTo>
                    <a:pt x="313037" y="4994"/>
                  </a:moveTo>
                  <a:lnTo>
                    <a:pt x="273813" y="4994"/>
                  </a:lnTo>
                  <a:lnTo>
                    <a:pt x="273813" y="283802"/>
                  </a:lnTo>
                  <a:lnTo>
                    <a:pt x="313037" y="283802"/>
                  </a:lnTo>
                  <a:lnTo>
                    <a:pt x="313037" y="196130"/>
                  </a:lnTo>
                  <a:lnTo>
                    <a:pt x="356879" y="147670"/>
                  </a:lnTo>
                  <a:lnTo>
                    <a:pt x="403714" y="147670"/>
                  </a:lnTo>
                  <a:lnTo>
                    <a:pt x="402092" y="145367"/>
                  </a:lnTo>
                  <a:lnTo>
                    <a:pt x="313037" y="145367"/>
                  </a:lnTo>
                  <a:lnTo>
                    <a:pt x="313037" y="4994"/>
                  </a:lnTo>
                  <a:close/>
                </a:path>
                <a:path w="1243330" h="288925">
                  <a:moveTo>
                    <a:pt x="403714" y="147670"/>
                  </a:moveTo>
                  <a:lnTo>
                    <a:pt x="356879" y="147670"/>
                  </a:lnTo>
                  <a:lnTo>
                    <a:pt x="452635" y="283802"/>
                  </a:lnTo>
                  <a:lnTo>
                    <a:pt x="499555" y="283802"/>
                  </a:lnTo>
                  <a:lnTo>
                    <a:pt x="403714" y="147670"/>
                  </a:lnTo>
                  <a:close/>
                </a:path>
                <a:path w="1243330" h="288925">
                  <a:moveTo>
                    <a:pt x="487639" y="4994"/>
                  </a:moveTo>
                  <a:lnTo>
                    <a:pt x="438792" y="4994"/>
                  </a:lnTo>
                  <a:lnTo>
                    <a:pt x="313037" y="145367"/>
                  </a:lnTo>
                  <a:lnTo>
                    <a:pt x="402092" y="145367"/>
                  </a:lnTo>
                  <a:lnTo>
                    <a:pt x="383412" y="118834"/>
                  </a:lnTo>
                  <a:lnTo>
                    <a:pt x="487639" y="4994"/>
                  </a:lnTo>
                  <a:close/>
                </a:path>
                <a:path w="1243330" h="288925">
                  <a:moveTo>
                    <a:pt x="630692" y="0"/>
                  </a:moveTo>
                  <a:lnTo>
                    <a:pt x="587086" y="6688"/>
                  </a:lnTo>
                  <a:lnTo>
                    <a:pt x="551180" y="25818"/>
                  </a:lnTo>
                  <a:lnTo>
                    <a:pt x="524117" y="55986"/>
                  </a:lnTo>
                  <a:lnTo>
                    <a:pt x="507040" y="95790"/>
                  </a:lnTo>
                  <a:lnTo>
                    <a:pt x="501094" y="143828"/>
                  </a:lnTo>
                  <a:lnTo>
                    <a:pt x="506546" y="191167"/>
                  </a:lnTo>
                  <a:lnTo>
                    <a:pt x="506572" y="191394"/>
                  </a:lnTo>
                  <a:lnTo>
                    <a:pt x="522590" y="231410"/>
                  </a:lnTo>
                  <a:lnTo>
                    <a:pt x="548520" y="262141"/>
                  </a:lnTo>
                  <a:lnTo>
                    <a:pt x="583737" y="281852"/>
                  </a:lnTo>
                  <a:lnTo>
                    <a:pt x="627614" y="288807"/>
                  </a:lnTo>
                  <a:lnTo>
                    <a:pt x="670222" y="282799"/>
                  </a:lnTo>
                  <a:lnTo>
                    <a:pt x="706016" y="264965"/>
                  </a:lnTo>
                  <a:lnTo>
                    <a:pt x="714428" y="255740"/>
                  </a:lnTo>
                  <a:lnTo>
                    <a:pt x="629917" y="255740"/>
                  </a:lnTo>
                  <a:lnTo>
                    <a:pt x="594136" y="248205"/>
                  </a:lnTo>
                  <a:lnTo>
                    <a:pt x="566032" y="226320"/>
                  </a:lnTo>
                  <a:lnTo>
                    <a:pt x="547781" y="191394"/>
                  </a:lnTo>
                  <a:lnTo>
                    <a:pt x="547662" y="191167"/>
                  </a:lnTo>
                  <a:lnTo>
                    <a:pt x="541083" y="143828"/>
                  </a:lnTo>
                  <a:lnTo>
                    <a:pt x="547861" y="96019"/>
                  </a:lnTo>
                  <a:lnTo>
                    <a:pt x="566465" y="61334"/>
                  </a:lnTo>
                  <a:lnTo>
                    <a:pt x="594299" y="40206"/>
                  </a:lnTo>
                  <a:lnTo>
                    <a:pt x="628766" y="33067"/>
                  </a:lnTo>
                  <a:lnTo>
                    <a:pt x="713229" y="33067"/>
                  </a:lnTo>
                  <a:lnTo>
                    <a:pt x="705776" y="24564"/>
                  </a:lnTo>
                  <a:lnTo>
                    <a:pt x="671443" y="6279"/>
                  </a:lnTo>
                  <a:lnTo>
                    <a:pt x="630692" y="0"/>
                  </a:lnTo>
                  <a:close/>
                </a:path>
                <a:path w="1243330" h="288925">
                  <a:moveTo>
                    <a:pt x="748364" y="194978"/>
                  </a:moveTo>
                  <a:lnTo>
                    <a:pt x="710292" y="194978"/>
                  </a:lnTo>
                  <a:lnTo>
                    <a:pt x="700279" y="219557"/>
                  </a:lnTo>
                  <a:lnTo>
                    <a:pt x="683522" y="238768"/>
                  </a:lnTo>
                  <a:lnTo>
                    <a:pt x="660056" y="251275"/>
                  </a:lnTo>
                  <a:lnTo>
                    <a:pt x="629917" y="255740"/>
                  </a:lnTo>
                  <a:lnTo>
                    <a:pt x="714428" y="255740"/>
                  </a:lnTo>
                  <a:lnTo>
                    <a:pt x="732797" y="235595"/>
                  </a:lnTo>
                  <a:lnTo>
                    <a:pt x="748364" y="194978"/>
                  </a:lnTo>
                  <a:close/>
                </a:path>
                <a:path w="1243330" h="288925">
                  <a:moveTo>
                    <a:pt x="713229" y="33067"/>
                  </a:moveTo>
                  <a:lnTo>
                    <a:pt x="628766" y="33067"/>
                  </a:lnTo>
                  <a:lnTo>
                    <a:pt x="658788" y="37640"/>
                  </a:lnTo>
                  <a:lnTo>
                    <a:pt x="682318" y="50325"/>
                  </a:lnTo>
                  <a:lnTo>
                    <a:pt x="699069" y="69572"/>
                  </a:lnTo>
                  <a:lnTo>
                    <a:pt x="708753" y="93829"/>
                  </a:lnTo>
                  <a:lnTo>
                    <a:pt x="746825" y="93829"/>
                  </a:lnTo>
                  <a:lnTo>
                    <a:pt x="731601" y="54024"/>
                  </a:lnTo>
                  <a:lnTo>
                    <a:pt x="713229" y="33067"/>
                  </a:lnTo>
                  <a:close/>
                </a:path>
                <a:path w="1243330" h="288925">
                  <a:moveTo>
                    <a:pt x="975268" y="4994"/>
                  </a:moveTo>
                  <a:lnTo>
                    <a:pt x="786059" y="4994"/>
                  </a:lnTo>
                  <a:lnTo>
                    <a:pt x="786059" y="283802"/>
                  </a:lnTo>
                  <a:lnTo>
                    <a:pt x="975268" y="283802"/>
                  </a:lnTo>
                  <a:lnTo>
                    <a:pt x="975268" y="249971"/>
                  </a:lnTo>
                  <a:lnTo>
                    <a:pt x="825283" y="249971"/>
                  </a:lnTo>
                  <a:lnTo>
                    <a:pt x="825283" y="157283"/>
                  </a:lnTo>
                  <a:lnTo>
                    <a:pt x="966420" y="157283"/>
                  </a:lnTo>
                  <a:lnTo>
                    <a:pt x="966420" y="123441"/>
                  </a:lnTo>
                  <a:lnTo>
                    <a:pt x="825283" y="123441"/>
                  </a:lnTo>
                  <a:lnTo>
                    <a:pt x="825283" y="38836"/>
                  </a:lnTo>
                  <a:lnTo>
                    <a:pt x="975268" y="38836"/>
                  </a:lnTo>
                  <a:lnTo>
                    <a:pt x="975268" y="4994"/>
                  </a:lnTo>
                  <a:close/>
                </a:path>
                <a:path w="1243330" h="288925">
                  <a:moveTo>
                    <a:pt x="1057171" y="4994"/>
                  </a:moveTo>
                  <a:lnTo>
                    <a:pt x="1017948" y="4994"/>
                  </a:lnTo>
                  <a:lnTo>
                    <a:pt x="1017948" y="283802"/>
                  </a:lnTo>
                  <a:lnTo>
                    <a:pt x="1057171" y="283802"/>
                  </a:lnTo>
                  <a:lnTo>
                    <a:pt x="1057171" y="157283"/>
                  </a:lnTo>
                  <a:lnTo>
                    <a:pt x="1242925" y="157283"/>
                  </a:lnTo>
                  <a:lnTo>
                    <a:pt x="1242925" y="123441"/>
                  </a:lnTo>
                  <a:lnTo>
                    <a:pt x="1057171" y="123441"/>
                  </a:lnTo>
                  <a:lnTo>
                    <a:pt x="1057171" y="4994"/>
                  </a:lnTo>
                  <a:close/>
                </a:path>
                <a:path w="1243330" h="288925">
                  <a:moveTo>
                    <a:pt x="1242925" y="157283"/>
                  </a:moveTo>
                  <a:lnTo>
                    <a:pt x="1203701" y="157283"/>
                  </a:lnTo>
                  <a:lnTo>
                    <a:pt x="1203701" y="283802"/>
                  </a:lnTo>
                  <a:lnTo>
                    <a:pt x="1242925" y="283802"/>
                  </a:lnTo>
                  <a:lnTo>
                    <a:pt x="1242925" y="157283"/>
                  </a:lnTo>
                  <a:close/>
                </a:path>
                <a:path w="1243330" h="288925">
                  <a:moveTo>
                    <a:pt x="1242925" y="4994"/>
                  </a:moveTo>
                  <a:lnTo>
                    <a:pt x="1203701" y="4994"/>
                  </a:lnTo>
                  <a:lnTo>
                    <a:pt x="1203701" y="123441"/>
                  </a:lnTo>
                  <a:lnTo>
                    <a:pt x="1242925" y="123441"/>
                  </a:lnTo>
                  <a:lnTo>
                    <a:pt x="1242925" y="4994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9">
              <a:extLst>
                <a:ext uri="{FF2B5EF4-FFF2-40B4-BE49-F238E27FC236}">
                  <a16:creationId xmlns:a16="http://schemas.microsoft.com/office/drawing/2014/main" id="{CE2579DF-0B30-705B-C8FD-25AF551B5F6A}"/>
                </a:ext>
              </a:extLst>
            </p:cNvPr>
            <p:cNvSpPr/>
            <p:nvPr userDrawn="1"/>
          </p:nvSpPr>
          <p:spPr>
            <a:xfrm>
              <a:off x="143595" y="135785"/>
              <a:ext cx="288028" cy="288028"/>
            </a:xfrm>
            <a:custGeom>
              <a:avLst/>
              <a:gdLst/>
              <a:ahLst/>
              <a:cxnLst/>
              <a:rect l="l" t="t" r="r" b="b"/>
              <a:pathLst>
                <a:path w="474980" h="474980">
                  <a:moveTo>
                    <a:pt x="62826" y="237299"/>
                  </a:moveTo>
                  <a:lnTo>
                    <a:pt x="60350" y="225069"/>
                  </a:lnTo>
                  <a:lnTo>
                    <a:pt x="53619" y="215087"/>
                  </a:lnTo>
                  <a:lnTo>
                    <a:pt x="43637" y="208356"/>
                  </a:lnTo>
                  <a:lnTo>
                    <a:pt x="31407" y="205879"/>
                  </a:lnTo>
                  <a:lnTo>
                    <a:pt x="19177" y="208356"/>
                  </a:lnTo>
                  <a:lnTo>
                    <a:pt x="9194" y="215087"/>
                  </a:lnTo>
                  <a:lnTo>
                    <a:pt x="2463" y="225069"/>
                  </a:lnTo>
                  <a:lnTo>
                    <a:pt x="0" y="237299"/>
                  </a:lnTo>
                  <a:lnTo>
                    <a:pt x="2463" y="249516"/>
                  </a:lnTo>
                  <a:lnTo>
                    <a:pt x="9194" y="259499"/>
                  </a:lnTo>
                  <a:lnTo>
                    <a:pt x="19177" y="266230"/>
                  </a:lnTo>
                  <a:lnTo>
                    <a:pt x="31407" y="268693"/>
                  </a:lnTo>
                  <a:lnTo>
                    <a:pt x="43637" y="266230"/>
                  </a:lnTo>
                  <a:lnTo>
                    <a:pt x="53619" y="259499"/>
                  </a:lnTo>
                  <a:lnTo>
                    <a:pt x="60350" y="249516"/>
                  </a:lnTo>
                  <a:lnTo>
                    <a:pt x="62826" y="237299"/>
                  </a:lnTo>
                  <a:close/>
                </a:path>
                <a:path w="474980" h="474980">
                  <a:moveTo>
                    <a:pt x="90170" y="336346"/>
                  </a:moveTo>
                  <a:lnTo>
                    <a:pt x="86194" y="324523"/>
                  </a:lnTo>
                  <a:lnTo>
                    <a:pt x="77939" y="315175"/>
                  </a:lnTo>
                  <a:lnTo>
                    <a:pt x="67119" y="309892"/>
                  </a:lnTo>
                  <a:lnTo>
                    <a:pt x="55118" y="309054"/>
                  </a:lnTo>
                  <a:lnTo>
                    <a:pt x="43294" y="313029"/>
                  </a:lnTo>
                  <a:lnTo>
                    <a:pt x="33934" y="321284"/>
                  </a:lnTo>
                  <a:lnTo>
                    <a:pt x="28651" y="332105"/>
                  </a:lnTo>
                  <a:lnTo>
                    <a:pt x="27813" y="344106"/>
                  </a:lnTo>
                  <a:lnTo>
                    <a:pt x="31788" y="355930"/>
                  </a:lnTo>
                  <a:lnTo>
                    <a:pt x="40043" y="365290"/>
                  </a:lnTo>
                  <a:lnTo>
                    <a:pt x="50863" y="370560"/>
                  </a:lnTo>
                  <a:lnTo>
                    <a:pt x="62877" y="371398"/>
                  </a:lnTo>
                  <a:lnTo>
                    <a:pt x="74701" y="367423"/>
                  </a:lnTo>
                  <a:lnTo>
                    <a:pt x="84048" y="359181"/>
                  </a:lnTo>
                  <a:lnTo>
                    <a:pt x="89331" y="348361"/>
                  </a:lnTo>
                  <a:lnTo>
                    <a:pt x="90170" y="336346"/>
                  </a:lnTo>
                  <a:close/>
                </a:path>
                <a:path w="474980" h="474980">
                  <a:moveTo>
                    <a:pt x="90170" y="138239"/>
                  </a:moveTo>
                  <a:lnTo>
                    <a:pt x="89331" y="126225"/>
                  </a:lnTo>
                  <a:lnTo>
                    <a:pt x="84048" y="115404"/>
                  </a:lnTo>
                  <a:lnTo>
                    <a:pt x="74701" y="107149"/>
                  </a:lnTo>
                  <a:lnTo>
                    <a:pt x="62877" y="103174"/>
                  </a:lnTo>
                  <a:lnTo>
                    <a:pt x="50863" y="104013"/>
                  </a:lnTo>
                  <a:lnTo>
                    <a:pt x="40043" y="109296"/>
                  </a:lnTo>
                  <a:lnTo>
                    <a:pt x="31800" y="118656"/>
                  </a:lnTo>
                  <a:lnTo>
                    <a:pt x="27813" y="130479"/>
                  </a:lnTo>
                  <a:lnTo>
                    <a:pt x="28651" y="142481"/>
                  </a:lnTo>
                  <a:lnTo>
                    <a:pt x="33934" y="153301"/>
                  </a:lnTo>
                  <a:lnTo>
                    <a:pt x="43281" y="161556"/>
                  </a:lnTo>
                  <a:lnTo>
                    <a:pt x="55105" y="165519"/>
                  </a:lnTo>
                  <a:lnTo>
                    <a:pt x="67119" y="164693"/>
                  </a:lnTo>
                  <a:lnTo>
                    <a:pt x="77939" y="159410"/>
                  </a:lnTo>
                  <a:lnTo>
                    <a:pt x="86194" y="150050"/>
                  </a:lnTo>
                  <a:lnTo>
                    <a:pt x="90170" y="138239"/>
                  </a:lnTo>
                  <a:close/>
                </a:path>
                <a:path w="474980" h="474980">
                  <a:moveTo>
                    <a:pt x="141947" y="237286"/>
                  </a:moveTo>
                  <a:lnTo>
                    <a:pt x="140106" y="228117"/>
                  </a:lnTo>
                  <a:lnTo>
                    <a:pt x="135051" y="220637"/>
                  </a:lnTo>
                  <a:lnTo>
                    <a:pt x="127571" y="215582"/>
                  </a:lnTo>
                  <a:lnTo>
                    <a:pt x="118402" y="213741"/>
                  </a:lnTo>
                  <a:lnTo>
                    <a:pt x="109232" y="215582"/>
                  </a:lnTo>
                  <a:lnTo>
                    <a:pt x="101752" y="220637"/>
                  </a:lnTo>
                  <a:lnTo>
                    <a:pt x="96697" y="228117"/>
                  </a:lnTo>
                  <a:lnTo>
                    <a:pt x="94856" y="237286"/>
                  </a:lnTo>
                  <a:lnTo>
                    <a:pt x="96697" y="246456"/>
                  </a:lnTo>
                  <a:lnTo>
                    <a:pt x="101752" y="253949"/>
                  </a:lnTo>
                  <a:lnTo>
                    <a:pt x="109232" y="258991"/>
                  </a:lnTo>
                  <a:lnTo>
                    <a:pt x="118402" y="260845"/>
                  </a:lnTo>
                  <a:lnTo>
                    <a:pt x="127571" y="258991"/>
                  </a:lnTo>
                  <a:lnTo>
                    <a:pt x="135051" y="253949"/>
                  </a:lnTo>
                  <a:lnTo>
                    <a:pt x="140106" y="246456"/>
                  </a:lnTo>
                  <a:lnTo>
                    <a:pt x="141947" y="237286"/>
                  </a:lnTo>
                  <a:close/>
                </a:path>
                <a:path w="474980" h="474980">
                  <a:moveTo>
                    <a:pt x="165519" y="419468"/>
                  </a:moveTo>
                  <a:lnTo>
                    <a:pt x="164680" y="407454"/>
                  </a:lnTo>
                  <a:lnTo>
                    <a:pt x="159397" y="396633"/>
                  </a:lnTo>
                  <a:lnTo>
                    <a:pt x="150050" y="388378"/>
                  </a:lnTo>
                  <a:lnTo>
                    <a:pt x="138226" y="384403"/>
                  </a:lnTo>
                  <a:lnTo>
                    <a:pt x="126212" y="385241"/>
                  </a:lnTo>
                  <a:lnTo>
                    <a:pt x="115392" y="390525"/>
                  </a:lnTo>
                  <a:lnTo>
                    <a:pt x="107149" y="399884"/>
                  </a:lnTo>
                  <a:lnTo>
                    <a:pt x="103174" y="411708"/>
                  </a:lnTo>
                  <a:lnTo>
                    <a:pt x="104013" y="423710"/>
                  </a:lnTo>
                  <a:lnTo>
                    <a:pt x="109296" y="434530"/>
                  </a:lnTo>
                  <a:lnTo>
                    <a:pt x="118643" y="442785"/>
                  </a:lnTo>
                  <a:lnTo>
                    <a:pt x="130467" y="446760"/>
                  </a:lnTo>
                  <a:lnTo>
                    <a:pt x="142481" y="445922"/>
                  </a:lnTo>
                  <a:lnTo>
                    <a:pt x="153301" y="440639"/>
                  </a:lnTo>
                  <a:lnTo>
                    <a:pt x="161544" y="431292"/>
                  </a:lnTo>
                  <a:lnTo>
                    <a:pt x="165519" y="419468"/>
                  </a:lnTo>
                  <a:close/>
                </a:path>
                <a:path w="474980" h="474980">
                  <a:moveTo>
                    <a:pt x="165519" y="55118"/>
                  </a:moveTo>
                  <a:lnTo>
                    <a:pt x="161544" y="43294"/>
                  </a:lnTo>
                  <a:lnTo>
                    <a:pt x="153301" y="33947"/>
                  </a:lnTo>
                  <a:lnTo>
                    <a:pt x="142481" y="28663"/>
                  </a:lnTo>
                  <a:lnTo>
                    <a:pt x="130467" y="27825"/>
                  </a:lnTo>
                  <a:lnTo>
                    <a:pt x="118643" y="31800"/>
                  </a:lnTo>
                  <a:lnTo>
                    <a:pt x="109296" y="40043"/>
                  </a:lnTo>
                  <a:lnTo>
                    <a:pt x="104013" y="50876"/>
                  </a:lnTo>
                  <a:lnTo>
                    <a:pt x="103174" y="62890"/>
                  </a:lnTo>
                  <a:lnTo>
                    <a:pt x="107149" y="74714"/>
                  </a:lnTo>
                  <a:lnTo>
                    <a:pt x="115404" y="84061"/>
                  </a:lnTo>
                  <a:lnTo>
                    <a:pt x="126212" y="89331"/>
                  </a:lnTo>
                  <a:lnTo>
                    <a:pt x="138226" y="90170"/>
                  </a:lnTo>
                  <a:lnTo>
                    <a:pt x="150050" y="86194"/>
                  </a:lnTo>
                  <a:lnTo>
                    <a:pt x="159410" y="77952"/>
                  </a:lnTo>
                  <a:lnTo>
                    <a:pt x="164680" y="67132"/>
                  </a:lnTo>
                  <a:lnTo>
                    <a:pt x="165519" y="55118"/>
                  </a:lnTo>
                  <a:close/>
                </a:path>
                <a:path w="474980" h="474980">
                  <a:moveTo>
                    <a:pt x="176771" y="321348"/>
                  </a:moveTo>
                  <a:lnTo>
                    <a:pt x="175056" y="312483"/>
                  </a:lnTo>
                  <a:lnTo>
                    <a:pt x="169875" y="304698"/>
                  </a:lnTo>
                  <a:lnTo>
                    <a:pt x="162077" y="299529"/>
                  </a:lnTo>
                  <a:lnTo>
                    <a:pt x="153225" y="297802"/>
                  </a:lnTo>
                  <a:lnTo>
                    <a:pt x="144360" y="299529"/>
                  </a:lnTo>
                  <a:lnTo>
                    <a:pt x="136563" y="304698"/>
                  </a:lnTo>
                  <a:lnTo>
                    <a:pt x="131394" y="312483"/>
                  </a:lnTo>
                  <a:lnTo>
                    <a:pt x="129667" y="321348"/>
                  </a:lnTo>
                  <a:lnTo>
                    <a:pt x="131394" y="330212"/>
                  </a:lnTo>
                  <a:lnTo>
                    <a:pt x="136563" y="338010"/>
                  </a:lnTo>
                  <a:lnTo>
                    <a:pt x="144360" y="343179"/>
                  </a:lnTo>
                  <a:lnTo>
                    <a:pt x="153225" y="344906"/>
                  </a:lnTo>
                  <a:lnTo>
                    <a:pt x="162077" y="343179"/>
                  </a:lnTo>
                  <a:lnTo>
                    <a:pt x="169875" y="338010"/>
                  </a:lnTo>
                  <a:lnTo>
                    <a:pt x="175056" y="330212"/>
                  </a:lnTo>
                  <a:lnTo>
                    <a:pt x="176771" y="321348"/>
                  </a:lnTo>
                  <a:close/>
                </a:path>
                <a:path w="474980" h="474980">
                  <a:moveTo>
                    <a:pt x="176784" y="153225"/>
                  </a:moveTo>
                  <a:lnTo>
                    <a:pt x="175056" y="144360"/>
                  </a:lnTo>
                  <a:lnTo>
                    <a:pt x="169875" y="136575"/>
                  </a:lnTo>
                  <a:lnTo>
                    <a:pt x="162090" y="131394"/>
                  </a:lnTo>
                  <a:lnTo>
                    <a:pt x="153225" y="129679"/>
                  </a:lnTo>
                  <a:lnTo>
                    <a:pt x="144360" y="131394"/>
                  </a:lnTo>
                  <a:lnTo>
                    <a:pt x="136575" y="136575"/>
                  </a:lnTo>
                  <a:lnTo>
                    <a:pt x="131394" y="144360"/>
                  </a:lnTo>
                  <a:lnTo>
                    <a:pt x="129667" y="153225"/>
                  </a:lnTo>
                  <a:lnTo>
                    <a:pt x="131394" y="162090"/>
                  </a:lnTo>
                  <a:lnTo>
                    <a:pt x="136575" y="169875"/>
                  </a:lnTo>
                  <a:lnTo>
                    <a:pt x="144360" y="175056"/>
                  </a:lnTo>
                  <a:lnTo>
                    <a:pt x="153225" y="176784"/>
                  </a:lnTo>
                  <a:lnTo>
                    <a:pt x="162090" y="175056"/>
                  </a:lnTo>
                  <a:lnTo>
                    <a:pt x="169875" y="169875"/>
                  </a:lnTo>
                  <a:lnTo>
                    <a:pt x="175056" y="162090"/>
                  </a:lnTo>
                  <a:lnTo>
                    <a:pt x="176784" y="153225"/>
                  </a:lnTo>
                  <a:close/>
                </a:path>
                <a:path w="474980" h="474980">
                  <a:moveTo>
                    <a:pt x="209016" y="261874"/>
                  </a:moveTo>
                  <a:lnTo>
                    <a:pt x="201853" y="249478"/>
                  </a:lnTo>
                  <a:lnTo>
                    <a:pt x="193941" y="247357"/>
                  </a:lnTo>
                  <a:lnTo>
                    <a:pt x="187744" y="250939"/>
                  </a:lnTo>
                  <a:lnTo>
                    <a:pt x="181546" y="254520"/>
                  </a:lnTo>
                  <a:lnTo>
                    <a:pt x="179412" y="262432"/>
                  </a:lnTo>
                  <a:lnTo>
                    <a:pt x="186575" y="274828"/>
                  </a:lnTo>
                  <a:lnTo>
                    <a:pt x="194500" y="276961"/>
                  </a:lnTo>
                  <a:lnTo>
                    <a:pt x="206895" y="269798"/>
                  </a:lnTo>
                  <a:lnTo>
                    <a:pt x="209016" y="261874"/>
                  </a:lnTo>
                  <a:close/>
                </a:path>
                <a:path w="474980" h="474980">
                  <a:moveTo>
                    <a:pt x="209016" y="212699"/>
                  </a:moveTo>
                  <a:lnTo>
                    <a:pt x="206895" y="204787"/>
                  </a:lnTo>
                  <a:lnTo>
                    <a:pt x="200698" y="201206"/>
                  </a:lnTo>
                  <a:lnTo>
                    <a:pt x="194500" y="197624"/>
                  </a:lnTo>
                  <a:lnTo>
                    <a:pt x="186575" y="199745"/>
                  </a:lnTo>
                  <a:lnTo>
                    <a:pt x="179425" y="212153"/>
                  </a:lnTo>
                  <a:lnTo>
                    <a:pt x="181546" y="220078"/>
                  </a:lnTo>
                  <a:lnTo>
                    <a:pt x="193941" y="227228"/>
                  </a:lnTo>
                  <a:lnTo>
                    <a:pt x="201853" y="225107"/>
                  </a:lnTo>
                  <a:lnTo>
                    <a:pt x="209016" y="212699"/>
                  </a:lnTo>
                  <a:close/>
                </a:path>
                <a:path w="474980" h="474980">
                  <a:moveTo>
                    <a:pt x="250240" y="279869"/>
                  </a:moveTo>
                  <a:lnTo>
                    <a:pt x="244449" y="274066"/>
                  </a:lnTo>
                  <a:lnTo>
                    <a:pt x="230136" y="274066"/>
                  </a:lnTo>
                  <a:lnTo>
                    <a:pt x="224332" y="279869"/>
                  </a:lnTo>
                  <a:lnTo>
                    <a:pt x="224332" y="287020"/>
                  </a:lnTo>
                  <a:lnTo>
                    <a:pt x="224332" y="294170"/>
                  </a:lnTo>
                  <a:lnTo>
                    <a:pt x="230136" y="299974"/>
                  </a:lnTo>
                  <a:lnTo>
                    <a:pt x="244449" y="299974"/>
                  </a:lnTo>
                  <a:lnTo>
                    <a:pt x="250240" y="294170"/>
                  </a:lnTo>
                  <a:lnTo>
                    <a:pt x="250240" y="279869"/>
                  </a:lnTo>
                  <a:close/>
                </a:path>
                <a:path w="474980" h="474980">
                  <a:moveTo>
                    <a:pt x="250240" y="180416"/>
                  </a:moveTo>
                  <a:lnTo>
                    <a:pt x="244436" y="174612"/>
                  </a:lnTo>
                  <a:lnTo>
                    <a:pt x="230124" y="174612"/>
                  </a:lnTo>
                  <a:lnTo>
                    <a:pt x="224332" y="180416"/>
                  </a:lnTo>
                  <a:lnTo>
                    <a:pt x="224332" y="194716"/>
                  </a:lnTo>
                  <a:lnTo>
                    <a:pt x="230124" y="200520"/>
                  </a:lnTo>
                  <a:lnTo>
                    <a:pt x="244436" y="200520"/>
                  </a:lnTo>
                  <a:lnTo>
                    <a:pt x="250240" y="194716"/>
                  </a:lnTo>
                  <a:lnTo>
                    <a:pt x="250240" y="187566"/>
                  </a:lnTo>
                  <a:lnTo>
                    <a:pt x="250240" y="180416"/>
                  </a:lnTo>
                  <a:close/>
                </a:path>
                <a:path w="474980" h="474980">
                  <a:moveTo>
                    <a:pt x="260832" y="356171"/>
                  </a:moveTo>
                  <a:lnTo>
                    <a:pt x="258991" y="347002"/>
                  </a:lnTo>
                  <a:lnTo>
                    <a:pt x="253936" y="339521"/>
                  </a:lnTo>
                  <a:lnTo>
                    <a:pt x="246456" y="334479"/>
                  </a:lnTo>
                  <a:lnTo>
                    <a:pt x="237274" y="332625"/>
                  </a:lnTo>
                  <a:lnTo>
                    <a:pt x="228117" y="334479"/>
                  </a:lnTo>
                  <a:lnTo>
                    <a:pt x="220624" y="339521"/>
                  </a:lnTo>
                  <a:lnTo>
                    <a:pt x="215582" y="347002"/>
                  </a:lnTo>
                  <a:lnTo>
                    <a:pt x="213728" y="356171"/>
                  </a:lnTo>
                  <a:lnTo>
                    <a:pt x="215582" y="365340"/>
                  </a:lnTo>
                  <a:lnTo>
                    <a:pt x="220624" y="372833"/>
                  </a:lnTo>
                  <a:lnTo>
                    <a:pt x="228117" y="377875"/>
                  </a:lnTo>
                  <a:lnTo>
                    <a:pt x="237274" y="379717"/>
                  </a:lnTo>
                  <a:lnTo>
                    <a:pt x="246456" y="377875"/>
                  </a:lnTo>
                  <a:lnTo>
                    <a:pt x="253936" y="372833"/>
                  </a:lnTo>
                  <a:lnTo>
                    <a:pt x="258991" y="365340"/>
                  </a:lnTo>
                  <a:lnTo>
                    <a:pt x="260832" y="356171"/>
                  </a:lnTo>
                  <a:close/>
                </a:path>
                <a:path w="474980" h="474980">
                  <a:moveTo>
                    <a:pt x="260845" y="118402"/>
                  </a:moveTo>
                  <a:lnTo>
                    <a:pt x="258991" y="109245"/>
                  </a:lnTo>
                  <a:lnTo>
                    <a:pt x="253936" y="101752"/>
                  </a:lnTo>
                  <a:lnTo>
                    <a:pt x="246456" y="96710"/>
                  </a:lnTo>
                  <a:lnTo>
                    <a:pt x="237286" y="94856"/>
                  </a:lnTo>
                  <a:lnTo>
                    <a:pt x="228117" y="96710"/>
                  </a:lnTo>
                  <a:lnTo>
                    <a:pt x="220637" y="101752"/>
                  </a:lnTo>
                  <a:lnTo>
                    <a:pt x="215582" y="109245"/>
                  </a:lnTo>
                  <a:lnTo>
                    <a:pt x="213728" y="118402"/>
                  </a:lnTo>
                  <a:lnTo>
                    <a:pt x="215582" y="127584"/>
                  </a:lnTo>
                  <a:lnTo>
                    <a:pt x="220637" y="135064"/>
                  </a:lnTo>
                  <a:lnTo>
                    <a:pt x="228117" y="140119"/>
                  </a:lnTo>
                  <a:lnTo>
                    <a:pt x="237286" y="141960"/>
                  </a:lnTo>
                  <a:lnTo>
                    <a:pt x="246456" y="140119"/>
                  </a:lnTo>
                  <a:lnTo>
                    <a:pt x="253936" y="135064"/>
                  </a:lnTo>
                  <a:lnTo>
                    <a:pt x="258991" y="127584"/>
                  </a:lnTo>
                  <a:lnTo>
                    <a:pt x="260845" y="118402"/>
                  </a:lnTo>
                  <a:close/>
                </a:path>
                <a:path w="474980" h="474980">
                  <a:moveTo>
                    <a:pt x="268693" y="443166"/>
                  </a:moveTo>
                  <a:lnTo>
                    <a:pt x="266230" y="430936"/>
                  </a:lnTo>
                  <a:lnTo>
                    <a:pt x="259499" y="420954"/>
                  </a:lnTo>
                  <a:lnTo>
                    <a:pt x="249516" y="414223"/>
                  </a:lnTo>
                  <a:lnTo>
                    <a:pt x="237286" y="411746"/>
                  </a:lnTo>
                  <a:lnTo>
                    <a:pt x="225069" y="414223"/>
                  </a:lnTo>
                  <a:lnTo>
                    <a:pt x="215074" y="420954"/>
                  </a:lnTo>
                  <a:lnTo>
                    <a:pt x="208343" y="430936"/>
                  </a:lnTo>
                  <a:lnTo>
                    <a:pt x="205879" y="443166"/>
                  </a:lnTo>
                  <a:lnTo>
                    <a:pt x="208343" y="455396"/>
                  </a:lnTo>
                  <a:lnTo>
                    <a:pt x="215074" y="465378"/>
                  </a:lnTo>
                  <a:lnTo>
                    <a:pt x="225069" y="472109"/>
                  </a:lnTo>
                  <a:lnTo>
                    <a:pt x="237286" y="474573"/>
                  </a:lnTo>
                  <a:lnTo>
                    <a:pt x="249516" y="472109"/>
                  </a:lnTo>
                  <a:lnTo>
                    <a:pt x="259499" y="465378"/>
                  </a:lnTo>
                  <a:lnTo>
                    <a:pt x="266230" y="455396"/>
                  </a:lnTo>
                  <a:lnTo>
                    <a:pt x="268693" y="443166"/>
                  </a:lnTo>
                  <a:close/>
                </a:path>
                <a:path w="474980" h="474980">
                  <a:moveTo>
                    <a:pt x="268693" y="31419"/>
                  </a:moveTo>
                  <a:lnTo>
                    <a:pt x="266230" y="19189"/>
                  </a:lnTo>
                  <a:lnTo>
                    <a:pt x="259486" y="9207"/>
                  </a:lnTo>
                  <a:lnTo>
                    <a:pt x="249504" y="2476"/>
                  </a:lnTo>
                  <a:lnTo>
                    <a:pt x="237274" y="0"/>
                  </a:lnTo>
                  <a:lnTo>
                    <a:pt x="225056" y="2476"/>
                  </a:lnTo>
                  <a:lnTo>
                    <a:pt x="215074" y="9207"/>
                  </a:lnTo>
                  <a:lnTo>
                    <a:pt x="208343" y="19189"/>
                  </a:lnTo>
                  <a:lnTo>
                    <a:pt x="205879" y="31419"/>
                  </a:lnTo>
                  <a:lnTo>
                    <a:pt x="208343" y="43649"/>
                  </a:lnTo>
                  <a:lnTo>
                    <a:pt x="215074" y="53632"/>
                  </a:lnTo>
                  <a:lnTo>
                    <a:pt x="225056" y="60363"/>
                  </a:lnTo>
                  <a:lnTo>
                    <a:pt x="237274" y="62826"/>
                  </a:lnTo>
                  <a:lnTo>
                    <a:pt x="249504" y="60363"/>
                  </a:lnTo>
                  <a:lnTo>
                    <a:pt x="259486" y="53632"/>
                  </a:lnTo>
                  <a:lnTo>
                    <a:pt x="266230" y="43649"/>
                  </a:lnTo>
                  <a:lnTo>
                    <a:pt x="268693" y="31419"/>
                  </a:lnTo>
                  <a:close/>
                </a:path>
                <a:path w="474980" h="474980">
                  <a:moveTo>
                    <a:pt x="295148" y="262432"/>
                  </a:moveTo>
                  <a:lnTo>
                    <a:pt x="293027" y="254508"/>
                  </a:lnTo>
                  <a:lnTo>
                    <a:pt x="280631" y="247357"/>
                  </a:lnTo>
                  <a:lnTo>
                    <a:pt x="272707" y="249478"/>
                  </a:lnTo>
                  <a:lnTo>
                    <a:pt x="265544" y="261874"/>
                  </a:lnTo>
                  <a:lnTo>
                    <a:pt x="267677" y="269798"/>
                  </a:lnTo>
                  <a:lnTo>
                    <a:pt x="273875" y="273380"/>
                  </a:lnTo>
                  <a:lnTo>
                    <a:pt x="280073" y="276961"/>
                  </a:lnTo>
                  <a:lnTo>
                    <a:pt x="287985" y="274828"/>
                  </a:lnTo>
                  <a:lnTo>
                    <a:pt x="295148" y="262432"/>
                  </a:lnTo>
                  <a:close/>
                </a:path>
                <a:path w="474980" h="474980">
                  <a:moveTo>
                    <a:pt x="295148" y="212153"/>
                  </a:moveTo>
                  <a:lnTo>
                    <a:pt x="287985" y="199758"/>
                  </a:lnTo>
                  <a:lnTo>
                    <a:pt x="280073" y="197624"/>
                  </a:lnTo>
                  <a:lnTo>
                    <a:pt x="267677" y="204774"/>
                  </a:lnTo>
                  <a:lnTo>
                    <a:pt x="265557" y="212699"/>
                  </a:lnTo>
                  <a:lnTo>
                    <a:pt x="272707" y="225107"/>
                  </a:lnTo>
                  <a:lnTo>
                    <a:pt x="280631" y="227228"/>
                  </a:lnTo>
                  <a:lnTo>
                    <a:pt x="286829" y="223647"/>
                  </a:lnTo>
                  <a:lnTo>
                    <a:pt x="293027" y="220065"/>
                  </a:lnTo>
                  <a:lnTo>
                    <a:pt x="295148" y="212153"/>
                  </a:lnTo>
                  <a:close/>
                </a:path>
                <a:path w="474980" h="474980">
                  <a:moveTo>
                    <a:pt x="344893" y="153225"/>
                  </a:moveTo>
                  <a:lnTo>
                    <a:pt x="343179" y="144360"/>
                  </a:lnTo>
                  <a:lnTo>
                    <a:pt x="338010" y="136575"/>
                  </a:lnTo>
                  <a:lnTo>
                    <a:pt x="330212" y="131394"/>
                  </a:lnTo>
                  <a:lnTo>
                    <a:pt x="321348" y="129667"/>
                  </a:lnTo>
                  <a:lnTo>
                    <a:pt x="312483" y="131394"/>
                  </a:lnTo>
                  <a:lnTo>
                    <a:pt x="304698" y="136575"/>
                  </a:lnTo>
                  <a:lnTo>
                    <a:pt x="299516" y="144360"/>
                  </a:lnTo>
                  <a:lnTo>
                    <a:pt x="297789" y="153225"/>
                  </a:lnTo>
                  <a:lnTo>
                    <a:pt x="299516" y="162090"/>
                  </a:lnTo>
                  <a:lnTo>
                    <a:pt x="304698" y="169887"/>
                  </a:lnTo>
                  <a:lnTo>
                    <a:pt x="312483" y="175056"/>
                  </a:lnTo>
                  <a:lnTo>
                    <a:pt x="321348" y="176784"/>
                  </a:lnTo>
                  <a:lnTo>
                    <a:pt x="330212" y="175056"/>
                  </a:lnTo>
                  <a:lnTo>
                    <a:pt x="338010" y="169887"/>
                  </a:lnTo>
                  <a:lnTo>
                    <a:pt x="343179" y="162090"/>
                  </a:lnTo>
                  <a:lnTo>
                    <a:pt x="344893" y="153225"/>
                  </a:lnTo>
                  <a:close/>
                </a:path>
                <a:path w="474980" h="474980">
                  <a:moveTo>
                    <a:pt x="344906" y="321348"/>
                  </a:moveTo>
                  <a:lnTo>
                    <a:pt x="343179" y="312496"/>
                  </a:lnTo>
                  <a:lnTo>
                    <a:pt x="337997" y="304698"/>
                  </a:lnTo>
                  <a:lnTo>
                    <a:pt x="330212" y="299529"/>
                  </a:lnTo>
                  <a:lnTo>
                    <a:pt x="321348" y="297802"/>
                  </a:lnTo>
                  <a:lnTo>
                    <a:pt x="312483" y="299529"/>
                  </a:lnTo>
                  <a:lnTo>
                    <a:pt x="304698" y="304698"/>
                  </a:lnTo>
                  <a:lnTo>
                    <a:pt x="299516" y="312496"/>
                  </a:lnTo>
                  <a:lnTo>
                    <a:pt x="297802" y="321348"/>
                  </a:lnTo>
                  <a:lnTo>
                    <a:pt x="299516" y="330212"/>
                  </a:lnTo>
                  <a:lnTo>
                    <a:pt x="304698" y="338010"/>
                  </a:lnTo>
                  <a:lnTo>
                    <a:pt x="312483" y="343179"/>
                  </a:lnTo>
                  <a:lnTo>
                    <a:pt x="321348" y="344906"/>
                  </a:lnTo>
                  <a:lnTo>
                    <a:pt x="330212" y="343179"/>
                  </a:lnTo>
                  <a:lnTo>
                    <a:pt x="337997" y="338010"/>
                  </a:lnTo>
                  <a:lnTo>
                    <a:pt x="343179" y="330212"/>
                  </a:lnTo>
                  <a:lnTo>
                    <a:pt x="344906" y="321348"/>
                  </a:lnTo>
                  <a:close/>
                </a:path>
                <a:path w="474980" h="474980">
                  <a:moveTo>
                    <a:pt x="371398" y="411695"/>
                  </a:moveTo>
                  <a:lnTo>
                    <a:pt x="367423" y="399872"/>
                  </a:lnTo>
                  <a:lnTo>
                    <a:pt x="359168" y="390525"/>
                  </a:lnTo>
                  <a:lnTo>
                    <a:pt x="348348" y="385241"/>
                  </a:lnTo>
                  <a:lnTo>
                    <a:pt x="336346" y="384403"/>
                  </a:lnTo>
                  <a:lnTo>
                    <a:pt x="324523" y="388391"/>
                  </a:lnTo>
                  <a:lnTo>
                    <a:pt x="315163" y="396633"/>
                  </a:lnTo>
                  <a:lnTo>
                    <a:pt x="309880" y="407454"/>
                  </a:lnTo>
                  <a:lnTo>
                    <a:pt x="309054" y="419468"/>
                  </a:lnTo>
                  <a:lnTo>
                    <a:pt x="313016" y="431292"/>
                  </a:lnTo>
                  <a:lnTo>
                    <a:pt x="321271" y="440639"/>
                  </a:lnTo>
                  <a:lnTo>
                    <a:pt x="332092" y="445922"/>
                  </a:lnTo>
                  <a:lnTo>
                    <a:pt x="344106" y="446760"/>
                  </a:lnTo>
                  <a:lnTo>
                    <a:pt x="355917" y="442785"/>
                  </a:lnTo>
                  <a:lnTo>
                    <a:pt x="365277" y="434530"/>
                  </a:lnTo>
                  <a:lnTo>
                    <a:pt x="370560" y="423710"/>
                  </a:lnTo>
                  <a:lnTo>
                    <a:pt x="371398" y="411695"/>
                  </a:lnTo>
                  <a:close/>
                </a:path>
                <a:path w="474980" h="474980">
                  <a:moveTo>
                    <a:pt x="371398" y="62877"/>
                  </a:moveTo>
                  <a:lnTo>
                    <a:pt x="370560" y="50863"/>
                  </a:lnTo>
                  <a:lnTo>
                    <a:pt x="365277" y="40055"/>
                  </a:lnTo>
                  <a:lnTo>
                    <a:pt x="355930" y="31800"/>
                  </a:lnTo>
                  <a:lnTo>
                    <a:pt x="344106" y="27825"/>
                  </a:lnTo>
                  <a:lnTo>
                    <a:pt x="332092" y="28663"/>
                  </a:lnTo>
                  <a:lnTo>
                    <a:pt x="321271" y="33934"/>
                  </a:lnTo>
                  <a:lnTo>
                    <a:pt x="313029" y="43294"/>
                  </a:lnTo>
                  <a:lnTo>
                    <a:pt x="309054" y="55118"/>
                  </a:lnTo>
                  <a:lnTo>
                    <a:pt x="309892" y="67132"/>
                  </a:lnTo>
                  <a:lnTo>
                    <a:pt x="315163" y="77952"/>
                  </a:lnTo>
                  <a:lnTo>
                    <a:pt x="324523" y="86194"/>
                  </a:lnTo>
                  <a:lnTo>
                    <a:pt x="336346" y="90170"/>
                  </a:lnTo>
                  <a:lnTo>
                    <a:pt x="348348" y="89331"/>
                  </a:lnTo>
                  <a:lnTo>
                    <a:pt x="359168" y="84061"/>
                  </a:lnTo>
                  <a:lnTo>
                    <a:pt x="367423" y="74701"/>
                  </a:lnTo>
                  <a:lnTo>
                    <a:pt x="371398" y="62877"/>
                  </a:lnTo>
                  <a:close/>
                </a:path>
                <a:path w="474980" h="474980">
                  <a:moveTo>
                    <a:pt x="379717" y="237286"/>
                  </a:moveTo>
                  <a:lnTo>
                    <a:pt x="377863" y="228117"/>
                  </a:lnTo>
                  <a:lnTo>
                    <a:pt x="372821" y="220637"/>
                  </a:lnTo>
                  <a:lnTo>
                    <a:pt x="365340" y="215582"/>
                  </a:lnTo>
                  <a:lnTo>
                    <a:pt x="356171" y="213741"/>
                  </a:lnTo>
                  <a:lnTo>
                    <a:pt x="347002" y="215582"/>
                  </a:lnTo>
                  <a:lnTo>
                    <a:pt x="339509" y="220637"/>
                  </a:lnTo>
                  <a:lnTo>
                    <a:pt x="334467" y="228117"/>
                  </a:lnTo>
                  <a:lnTo>
                    <a:pt x="332625" y="237286"/>
                  </a:lnTo>
                  <a:lnTo>
                    <a:pt x="334467" y="246456"/>
                  </a:lnTo>
                  <a:lnTo>
                    <a:pt x="339509" y="253949"/>
                  </a:lnTo>
                  <a:lnTo>
                    <a:pt x="347002" y="258991"/>
                  </a:lnTo>
                  <a:lnTo>
                    <a:pt x="356171" y="260845"/>
                  </a:lnTo>
                  <a:lnTo>
                    <a:pt x="365340" y="258991"/>
                  </a:lnTo>
                  <a:lnTo>
                    <a:pt x="372821" y="253949"/>
                  </a:lnTo>
                  <a:lnTo>
                    <a:pt x="377863" y="246456"/>
                  </a:lnTo>
                  <a:lnTo>
                    <a:pt x="379717" y="237286"/>
                  </a:lnTo>
                  <a:close/>
                </a:path>
                <a:path w="474980" h="474980">
                  <a:moveTo>
                    <a:pt x="446747" y="344106"/>
                  </a:moveTo>
                  <a:lnTo>
                    <a:pt x="445909" y="332092"/>
                  </a:lnTo>
                  <a:lnTo>
                    <a:pt x="440639" y="321284"/>
                  </a:lnTo>
                  <a:lnTo>
                    <a:pt x="431292" y="313029"/>
                  </a:lnTo>
                  <a:lnTo>
                    <a:pt x="419468" y="309054"/>
                  </a:lnTo>
                  <a:lnTo>
                    <a:pt x="407454" y="309892"/>
                  </a:lnTo>
                  <a:lnTo>
                    <a:pt x="396621" y="315175"/>
                  </a:lnTo>
                  <a:lnTo>
                    <a:pt x="388378" y="324523"/>
                  </a:lnTo>
                  <a:lnTo>
                    <a:pt x="384403" y="336346"/>
                  </a:lnTo>
                  <a:lnTo>
                    <a:pt x="385241" y="348361"/>
                  </a:lnTo>
                  <a:lnTo>
                    <a:pt x="390525" y="359181"/>
                  </a:lnTo>
                  <a:lnTo>
                    <a:pt x="399872" y="367423"/>
                  </a:lnTo>
                  <a:lnTo>
                    <a:pt x="411695" y="371398"/>
                  </a:lnTo>
                  <a:lnTo>
                    <a:pt x="423710" y="370560"/>
                  </a:lnTo>
                  <a:lnTo>
                    <a:pt x="434530" y="365290"/>
                  </a:lnTo>
                  <a:lnTo>
                    <a:pt x="442772" y="355930"/>
                  </a:lnTo>
                  <a:lnTo>
                    <a:pt x="446747" y="344106"/>
                  </a:lnTo>
                  <a:close/>
                </a:path>
                <a:path w="474980" h="474980">
                  <a:moveTo>
                    <a:pt x="446747" y="130467"/>
                  </a:moveTo>
                  <a:lnTo>
                    <a:pt x="442772" y="118656"/>
                  </a:lnTo>
                  <a:lnTo>
                    <a:pt x="434530" y="109296"/>
                  </a:lnTo>
                  <a:lnTo>
                    <a:pt x="423710" y="104025"/>
                  </a:lnTo>
                  <a:lnTo>
                    <a:pt x="411695" y="103187"/>
                  </a:lnTo>
                  <a:lnTo>
                    <a:pt x="399872" y="107162"/>
                  </a:lnTo>
                  <a:lnTo>
                    <a:pt x="390525" y="115404"/>
                  </a:lnTo>
                  <a:lnTo>
                    <a:pt x="385241" y="126225"/>
                  </a:lnTo>
                  <a:lnTo>
                    <a:pt x="384403" y="138239"/>
                  </a:lnTo>
                  <a:lnTo>
                    <a:pt x="388378" y="150050"/>
                  </a:lnTo>
                  <a:lnTo>
                    <a:pt x="396633" y="159410"/>
                  </a:lnTo>
                  <a:lnTo>
                    <a:pt x="407454" y="164693"/>
                  </a:lnTo>
                  <a:lnTo>
                    <a:pt x="419455" y="165531"/>
                  </a:lnTo>
                  <a:lnTo>
                    <a:pt x="431279" y="161556"/>
                  </a:lnTo>
                  <a:lnTo>
                    <a:pt x="440639" y="153301"/>
                  </a:lnTo>
                  <a:lnTo>
                    <a:pt x="445909" y="142481"/>
                  </a:lnTo>
                  <a:lnTo>
                    <a:pt x="446747" y="130467"/>
                  </a:lnTo>
                  <a:close/>
                </a:path>
                <a:path w="474980" h="474980">
                  <a:moveTo>
                    <a:pt x="474573" y="237286"/>
                  </a:moveTo>
                  <a:lnTo>
                    <a:pt x="472109" y="225069"/>
                  </a:lnTo>
                  <a:lnTo>
                    <a:pt x="465366" y="215087"/>
                  </a:lnTo>
                  <a:lnTo>
                    <a:pt x="455383" y="208356"/>
                  </a:lnTo>
                  <a:lnTo>
                    <a:pt x="443153" y="205879"/>
                  </a:lnTo>
                  <a:lnTo>
                    <a:pt x="430936" y="208356"/>
                  </a:lnTo>
                  <a:lnTo>
                    <a:pt x="420941" y="215087"/>
                  </a:lnTo>
                  <a:lnTo>
                    <a:pt x="414210" y="225069"/>
                  </a:lnTo>
                  <a:lnTo>
                    <a:pt x="411746" y="237286"/>
                  </a:lnTo>
                  <a:lnTo>
                    <a:pt x="414210" y="249516"/>
                  </a:lnTo>
                  <a:lnTo>
                    <a:pt x="420941" y="259499"/>
                  </a:lnTo>
                  <a:lnTo>
                    <a:pt x="430936" y="266230"/>
                  </a:lnTo>
                  <a:lnTo>
                    <a:pt x="443153" y="268693"/>
                  </a:lnTo>
                  <a:lnTo>
                    <a:pt x="455383" y="266230"/>
                  </a:lnTo>
                  <a:lnTo>
                    <a:pt x="465366" y="259499"/>
                  </a:lnTo>
                  <a:lnTo>
                    <a:pt x="472109" y="249516"/>
                  </a:lnTo>
                  <a:lnTo>
                    <a:pt x="474573" y="237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82A69B8-8BA3-E9DC-7A9D-FA14853D36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14532EF3-B6F0-B76B-9CFE-47CDEDAE2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99" y="2513736"/>
            <a:ext cx="5310188" cy="1636991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Presentation title 3 </a:t>
            </a:r>
            <a:br>
              <a:rPr lang="en-GB" dirty="0"/>
            </a:br>
            <a:r>
              <a:rPr lang="en-GB" dirty="0"/>
              <a:t>that can break over three lines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ACB6CFB-017C-07CB-C76D-D9162BE65281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  <a:solidFill>
            <a:schemeClr val="bg1"/>
          </a:solidFill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6AA5BB6-48E5-8E32-B4AA-B288D7B7E4A2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4D478FC-C1D6-0DE6-37C6-AA33FAD9B03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8137BB38-0D85-AF41-480D-149A509D2BC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3AD72DA-E868-B4DE-E8F7-70DDC92BB2E7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BD0C1D91-FFA1-5FDB-CEB8-B0B02CFC7AA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D82E447C-7A71-9209-D595-EE57E23B3EB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7" name="object 3">
            <a:extLst>
              <a:ext uri="{FF2B5EF4-FFF2-40B4-BE49-F238E27FC236}">
                <a16:creationId xmlns:a16="http://schemas.microsoft.com/office/drawing/2014/main" id="{C5EF4511-BC4F-0983-B1FD-B1C40AF754A9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58531630-32B9-1621-E0BF-AB57475FA4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2057891"/>
            <a:ext cx="5310188" cy="310352"/>
          </a:xfrm>
        </p:spPr>
        <p:txBody>
          <a:bodyPr/>
          <a:lstStyle>
            <a:lvl1pPr>
              <a:defRPr sz="1800" b="1" spc="-2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9A87186C-6BB8-7F54-1DBF-FCB960A850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Text Placeholder 42">
            <a:extLst>
              <a:ext uri="{FF2B5EF4-FFF2-40B4-BE49-F238E27FC236}">
                <a16:creationId xmlns:a16="http://schemas.microsoft.com/office/drawing/2014/main" id="{5187CA34-457F-0192-8BF6-529DAA1B48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623" y="4438553"/>
            <a:ext cx="4248150" cy="86302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400" spc="-8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800" spc="-40" baseline="0"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Presentation subtitle goes here over two lines if required. 24pt. </a:t>
            </a:r>
          </a:p>
        </p:txBody>
      </p:sp>
    </p:spTree>
    <p:extLst>
      <p:ext uri="{BB962C8B-B14F-4D97-AF65-F5344CB8AC3E}">
        <p14:creationId xmlns:p14="http://schemas.microsoft.com/office/powerpoint/2010/main" val="3423382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2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096000" y="532340"/>
            <a:ext cx="6095565" cy="6325178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EC763B1-4CBB-9747-FBB3-F524D99EF5C8}"/>
              </a:ext>
            </a:extLst>
          </p:cNvPr>
          <p:cNvGrpSpPr/>
          <p:nvPr userDrawn="1"/>
        </p:nvGrpSpPr>
        <p:grpSpPr>
          <a:xfrm>
            <a:off x="143595" y="135785"/>
            <a:ext cx="1089185" cy="288028"/>
            <a:chOff x="143595" y="135785"/>
            <a:chExt cx="1089185" cy="288028"/>
          </a:xfrm>
          <a:solidFill>
            <a:schemeClr val="bg1"/>
          </a:solidFill>
        </p:grpSpPr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11BC098D-8670-1613-A0B1-8B6FCABEC146}"/>
                </a:ext>
              </a:extLst>
            </p:cNvPr>
            <p:cNvSpPr/>
            <p:nvPr userDrawn="1"/>
          </p:nvSpPr>
          <p:spPr>
            <a:xfrm>
              <a:off x="478824" y="191457"/>
              <a:ext cx="753956" cy="175204"/>
            </a:xfrm>
            <a:custGeom>
              <a:avLst/>
              <a:gdLst/>
              <a:ahLst/>
              <a:cxnLst/>
              <a:rect l="l" t="t" r="r" b="b"/>
              <a:pathLst>
                <a:path w="1243330" h="288925">
                  <a:moveTo>
                    <a:pt x="39223" y="4994"/>
                  </a:moveTo>
                  <a:lnTo>
                    <a:pt x="0" y="4994"/>
                  </a:lnTo>
                  <a:lnTo>
                    <a:pt x="0" y="170361"/>
                  </a:lnTo>
                  <a:lnTo>
                    <a:pt x="6495" y="225537"/>
                  </a:lnTo>
                  <a:lnTo>
                    <a:pt x="26582" y="262179"/>
                  </a:lnTo>
                  <a:lnTo>
                    <a:pt x="61163" y="282523"/>
                  </a:lnTo>
                  <a:lnTo>
                    <a:pt x="111137" y="288807"/>
                  </a:lnTo>
                  <a:lnTo>
                    <a:pt x="162919" y="281285"/>
                  </a:lnTo>
                  <a:lnTo>
                    <a:pt x="197719" y="258621"/>
                  </a:lnTo>
                  <a:lnTo>
                    <a:pt x="199605" y="254966"/>
                  </a:lnTo>
                  <a:lnTo>
                    <a:pt x="111137" y="254966"/>
                  </a:lnTo>
                  <a:lnTo>
                    <a:pt x="77840" y="250140"/>
                  </a:lnTo>
                  <a:lnTo>
                    <a:pt x="55571" y="235401"/>
                  </a:lnTo>
                  <a:lnTo>
                    <a:pt x="43106" y="210350"/>
                  </a:lnTo>
                  <a:lnTo>
                    <a:pt x="39223" y="174591"/>
                  </a:lnTo>
                  <a:lnTo>
                    <a:pt x="39223" y="4994"/>
                  </a:lnTo>
                  <a:close/>
                </a:path>
                <a:path w="1243330" h="288925">
                  <a:moveTo>
                    <a:pt x="223438" y="4994"/>
                  </a:moveTo>
                  <a:lnTo>
                    <a:pt x="184214" y="4994"/>
                  </a:lnTo>
                  <a:lnTo>
                    <a:pt x="184214" y="170361"/>
                  </a:lnTo>
                  <a:lnTo>
                    <a:pt x="180314" y="206781"/>
                  </a:lnTo>
                  <a:lnTo>
                    <a:pt x="167725" y="233286"/>
                  </a:lnTo>
                  <a:lnTo>
                    <a:pt x="145111" y="249479"/>
                  </a:lnTo>
                  <a:lnTo>
                    <a:pt x="111137" y="254966"/>
                  </a:lnTo>
                  <a:lnTo>
                    <a:pt x="199605" y="254966"/>
                  </a:lnTo>
                  <a:lnTo>
                    <a:pt x="217302" y="220669"/>
                  </a:lnTo>
                  <a:lnTo>
                    <a:pt x="223438" y="167282"/>
                  </a:lnTo>
                  <a:lnTo>
                    <a:pt x="223438" y="4994"/>
                  </a:lnTo>
                  <a:close/>
                </a:path>
                <a:path w="1243330" h="288925">
                  <a:moveTo>
                    <a:pt x="313037" y="4994"/>
                  </a:moveTo>
                  <a:lnTo>
                    <a:pt x="273813" y="4994"/>
                  </a:lnTo>
                  <a:lnTo>
                    <a:pt x="273813" y="283802"/>
                  </a:lnTo>
                  <a:lnTo>
                    <a:pt x="313037" y="283802"/>
                  </a:lnTo>
                  <a:lnTo>
                    <a:pt x="313037" y="196130"/>
                  </a:lnTo>
                  <a:lnTo>
                    <a:pt x="356879" y="147670"/>
                  </a:lnTo>
                  <a:lnTo>
                    <a:pt x="403714" y="147670"/>
                  </a:lnTo>
                  <a:lnTo>
                    <a:pt x="402092" y="145367"/>
                  </a:lnTo>
                  <a:lnTo>
                    <a:pt x="313037" y="145367"/>
                  </a:lnTo>
                  <a:lnTo>
                    <a:pt x="313037" y="4994"/>
                  </a:lnTo>
                  <a:close/>
                </a:path>
                <a:path w="1243330" h="288925">
                  <a:moveTo>
                    <a:pt x="403714" y="147670"/>
                  </a:moveTo>
                  <a:lnTo>
                    <a:pt x="356879" y="147670"/>
                  </a:lnTo>
                  <a:lnTo>
                    <a:pt x="452635" y="283802"/>
                  </a:lnTo>
                  <a:lnTo>
                    <a:pt x="499555" y="283802"/>
                  </a:lnTo>
                  <a:lnTo>
                    <a:pt x="403714" y="147670"/>
                  </a:lnTo>
                  <a:close/>
                </a:path>
                <a:path w="1243330" h="288925">
                  <a:moveTo>
                    <a:pt x="487639" y="4994"/>
                  </a:moveTo>
                  <a:lnTo>
                    <a:pt x="438792" y="4994"/>
                  </a:lnTo>
                  <a:lnTo>
                    <a:pt x="313037" y="145367"/>
                  </a:lnTo>
                  <a:lnTo>
                    <a:pt x="402092" y="145367"/>
                  </a:lnTo>
                  <a:lnTo>
                    <a:pt x="383412" y="118834"/>
                  </a:lnTo>
                  <a:lnTo>
                    <a:pt x="487639" y="4994"/>
                  </a:lnTo>
                  <a:close/>
                </a:path>
                <a:path w="1243330" h="288925">
                  <a:moveTo>
                    <a:pt x="630692" y="0"/>
                  </a:moveTo>
                  <a:lnTo>
                    <a:pt x="587086" y="6688"/>
                  </a:lnTo>
                  <a:lnTo>
                    <a:pt x="551180" y="25818"/>
                  </a:lnTo>
                  <a:lnTo>
                    <a:pt x="524117" y="55986"/>
                  </a:lnTo>
                  <a:lnTo>
                    <a:pt x="507040" y="95790"/>
                  </a:lnTo>
                  <a:lnTo>
                    <a:pt x="501094" y="143828"/>
                  </a:lnTo>
                  <a:lnTo>
                    <a:pt x="506546" y="191167"/>
                  </a:lnTo>
                  <a:lnTo>
                    <a:pt x="506572" y="191394"/>
                  </a:lnTo>
                  <a:lnTo>
                    <a:pt x="522590" y="231410"/>
                  </a:lnTo>
                  <a:lnTo>
                    <a:pt x="548520" y="262141"/>
                  </a:lnTo>
                  <a:lnTo>
                    <a:pt x="583737" y="281852"/>
                  </a:lnTo>
                  <a:lnTo>
                    <a:pt x="627614" y="288807"/>
                  </a:lnTo>
                  <a:lnTo>
                    <a:pt x="670222" y="282799"/>
                  </a:lnTo>
                  <a:lnTo>
                    <a:pt x="706016" y="264965"/>
                  </a:lnTo>
                  <a:lnTo>
                    <a:pt x="714428" y="255740"/>
                  </a:lnTo>
                  <a:lnTo>
                    <a:pt x="629917" y="255740"/>
                  </a:lnTo>
                  <a:lnTo>
                    <a:pt x="594136" y="248205"/>
                  </a:lnTo>
                  <a:lnTo>
                    <a:pt x="566032" y="226320"/>
                  </a:lnTo>
                  <a:lnTo>
                    <a:pt x="547781" y="191394"/>
                  </a:lnTo>
                  <a:lnTo>
                    <a:pt x="547662" y="191167"/>
                  </a:lnTo>
                  <a:lnTo>
                    <a:pt x="541083" y="143828"/>
                  </a:lnTo>
                  <a:lnTo>
                    <a:pt x="547861" y="96019"/>
                  </a:lnTo>
                  <a:lnTo>
                    <a:pt x="566465" y="61334"/>
                  </a:lnTo>
                  <a:lnTo>
                    <a:pt x="594299" y="40206"/>
                  </a:lnTo>
                  <a:lnTo>
                    <a:pt x="628766" y="33067"/>
                  </a:lnTo>
                  <a:lnTo>
                    <a:pt x="713229" y="33067"/>
                  </a:lnTo>
                  <a:lnTo>
                    <a:pt x="705776" y="24564"/>
                  </a:lnTo>
                  <a:lnTo>
                    <a:pt x="671443" y="6279"/>
                  </a:lnTo>
                  <a:lnTo>
                    <a:pt x="630692" y="0"/>
                  </a:lnTo>
                  <a:close/>
                </a:path>
                <a:path w="1243330" h="288925">
                  <a:moveTo>
                    <a:pt x="748364" y="194978"/>
                  </a:moveTo>
                  <a:lnTo>
                    <a:pt x="710292" y="194978"/>
                  </a:lnTo>
                  <a:lnTo>
                    <a:pt x="700279" y="219557"/>
                  </a:lnTo>
                  <a:lnTo>
                    <a:pt x="683522" y="238768"/>
                  </a:lnTo>
                  <a:lnTo>
                    <a:pt x="660056" y="251275"/>
                  </a:lnTo>
                  <a:lnTo>
                    <a:pt x="629917" y="255740"/>
                  </a:lnTo>
                  <a:lnTo>
                    <a:pt x="714428" y="255740"/>
                  </a:lnTo>
                  <a:lnTo>
                    <a:pt x="732797" y="235595"/>
                  </a:lnTo>
                  <a:lnTo>
                    <a:pt x="748364" y="194978"/>
                  </a:lnTo>
                  <a:close/>
                </a:path>
                <a:path w="1243330" h="288925">
                  <a:moveTo>
                    <a:pt x="713229" y="33067"/>
                  </a:moveTo>
                  <a:lnTo>
                    <a:pt x="628766" y="33067"/>
                  </a:lnTo>
                  <a:lnTo>
                    <a:pt x="658788" y="37640"/>
                  </a:lnTo>
                  <a:lnTo>
                    <a:pt x="682318" y="50325"/>
                  </a:lnTo>
                  <a:lnTo>
                    <a:pt x="699069" y="69572"/>
                  </a:lnTo>
                  <a:lnTo>
                    <a:pt x="708753" y="93829"/>
                  </a:lnTo>
                  <a:lnTo>
                    <a:pt x="746825" y="93829"/>
                  </a:lnTo>
                  <a:lnTo>
                    <a:pt x="731601" y="54024"/>
                  </a:lnTo>
                  <a:lnTo>
                    <a:pt x="713229" y="33067"/>
                  </a:lnTo>
                  <a:close/>
                </a:path>
                <a:path w="1243330" h="288925">
                  <a:moveTo>
                    <a:pt x="975268" y="4994"/>
                  </a:moveTo>
                  <a:lnTo>
                    <a:pt x="786059" y="4994"/>
                  </a:lnTo>
                  <a:lnTo>
                    <a:pt x="786059" y="283802"/>
                  </a:lnTo>
                  <a:lnTo>
                    <a:pt x="975268" y="283802"/>
                  </a:lnTo>
                  <a:lnTo>
                    <a:pt x="975268" y="249971"/>
                  </a:lnTo>
                  <a:lnTo>
                    <a:pt x="825283" y="249971"/>
                  </a:lnTo>
                  <a:lnTo>
                    <a:pt x="825283" y="157283"/>
                  </a:lnTo>
                  <a:lnTo>
                    <a:pt x="966420" y="157283"/>
                  </a:lnTo>
                  <a:lnTo>
                    <a:pt x="966420" y="123441"/>
                  </a:lnTo>
                  <a:lnTo>
                    <a:pt x="825283" y="123441"/>
                  </a:lnTo>
                  <a:lnTo>
                    <a:pt x="825283" y="38836"/>
                  </a:lnTo>
                  <a:lnTo>
                    <a:pt x="975268" y="38836"/>
                  </a:lnTo>
                  <a:lnTo>
                    <a:pt x="975268" y="4994"/>
                  </a:lnTo>
                  <a:close/>
                </a:path>
                <a:path w="1243330" h="288925">
                  <a:moveTo>
                    <a:pt x="1057171" y="4994"/>
                  </a:moveTo>
                  <a:lnTo>
                    <a:pt x="1017948" y="4994"/>
                  </a:lnTo>
                  <a:lnTo>
                    <a:pt x="1017948" y="283802"/>
                  </a:lnTo>
                  <a:lnTo>
                    <a:pt x="1057171" y="283802"/>
                  </a:lnTo>
                  <a:lnTo>
                    <a:pt x="1057171" y="157283"/>
                  </a:lnTo>
                  <a:lnTo>
                    <a:pt x="1242925" y="157283"/>
                  </a:lnTo>
                  <a:lnTo>
                    <a:pt x="1242925" y="123441"/>
                  </a:lnTo>
                  <a:lnTo>
                    <a:pt x="1057171" y="123441"/>
                  </a:lnTo>
                  <a:lnTo>
                    <a:pt x="1057171" y="4994"/>
                  </a:lnTo>
                  <a:close/>
                </a:path>
                <a:path w="1243330" h="288925">
                  <a:moveTo>
                    <a:pt x="1242925" y="157283"/>
                  </a:moveTo>
                  <a:lnTo>
                    <a:pt x="1203701" y="157283"/>
                  </a:lnTo>
                  <a:lnTo>
                    <a:pt x="1203701" y="283802"/>
                  </a:lnTo>
                  <a:lnTo>
                    <a:pt x="1242925" y="283802"/>
                  </a:lnTo>
                  <a:lnTo>
                    <a:pt x="1242925" y="157283"/>
                  </a:lnTo>
                  <a:close/>
                </a:path>
                <a:path w="1243330" h="288925">
                  <a:moveTo>
                    <a:pt x="1242925" y="4994"/>
                  </a:moveTo>
                  <a:lnTo>
                    <a:pt x="1203701" y="4994"/>
                  </a:lnTo>
                  <a:lnTo>
                    <a:pt x="1203701" y="123441"/>
                  </a:lnTo>
                  <a:lnTo>
                    <a:pt x="1242925" y="123441"/>
                  </a:lnTo>
                  <a:lnTo>
                    <a:pt x="1242925" y="4994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9">
              <a:extLst>
                <a:ext uri="{FF2B5EF4-FFF2-40B4-BE49-F238E27FC236}">
                  <a16:creationId xmlns:a16="http://schemas.microsoft.com/office/drawing/2014/main" id="{CE2579DF-0B30-705B-C8FD-25AF551B5F6A}"/>
                </a:ext>
              </a:extLst>
            </p:cNvPr>
            <p:cNvSpPr/>
            <p:nvPr userDrawn="1"/>
          </p:nvSpPr>
          <p:spPr>
            <a:xfrm>
              <a:off x="143595" y="135785"/>
              <a:ext cx="288028" cy="288028"/>
            </a:xfrm>
            <a:custGeom>
              <a:avLst/>
              <a:gdLst/>
              <a:ahLst/>
              <a:cxnLst/>
              <a:rect l="l" t="t" r="r" b="b"/>
              <a:pathLst>
                <a:path w="474980" h="474980">
                  <a:moveTo>
                    <a:pt x="62826" y="237299"/>
                  </a:moveTo>
                  <a:lnTo>
                    <a:pt x="60350" y="225069"/>
                  </a:lnTo>
                  <a:lnTo>
                    <a:pt x="53619" y="215087"/>
                  </a:lnTo>
                  <a:lnTo>
                    <a:pt x="43637" y="208356"/>
                  </a:lnTo>
                  <a:lnTo>
                    <a:pt x="31407" y="205879"/>
                  </a:lnTo>
                  <a:lnTo>
                    <a:pt x="19177" y="208356"/>
                  </a:lnTo>
                  <a:lnTo>
                    <a:pt x="9194" y="215087"/>
                  </a:lnTo>
                  <a:lnTo>
                    <a:pt x="2463" y="225069"/>
                  </a:lnTo>
                  <a:lnTo>
                    <a:pt x="0" y="237299"/>
                  </a:lnTo>
                  <a:lnTo>
                    <a:pt x="2463" y="249516"/>
                  </a:lnTo>
                  <a:lnTo>
                    <a:pt x="9194" y="259499"/>
                  </a:lnTo>
                  <a:lnTo>
                    <a:pt x="19177" y="266230"/>
                  </a:lnTo>
                  <a:lnTo>
                    <a:pt x="31407" y="268693"/>
                  </a:lnTo>
                  <a:lnTo>
                    <a:pt x="43637" y="266230"/>
                  </a:lnTo>
                  <a:lnTo>
                    <a:pt x="53619" y="259499"/>
                  </a:lnTo>
                  <a:lnTo>
                    <a:pt x="60350" y="249516"/>
                  </a:lnTo>
                  <a:lnTo>
                    <a:pt x="62826" y="237299"/>
                  </a:lnTo>
                  <a:close/>
                </a:path>
                <a:path w="474980" h="474980">
                  <a:moveTo>
                    <a:pt x="90170" y="336346"/>
                  </a:moveTo>
                  <a:lnTo>
                    <a:pt x="86194" y="324523"/>
                  </a:lnTo>
                  <a:lnTo>
                    <a:pt x="77939" y="315175"/>
                  </a:lnTo>
                  <a:lnTo>
                    <a:pt x="67119" y="309892"/>
                  </a:lnTo>
                  <a:lnTo>
                    <a:pt x="55118" y="309054"/>
                  </a:lnTo>
                  <a:lnTo>
                    <a:pt x="43294" y="313029"/>
                  </a:lnTo>
                  <a:lnTo>
                    <a:pt x="33934" y="321284"/>
                  </a:lnTo>
                  <a:lnTo>
                    <a:pt x="28651" y="332105"/>
                  </a:lnTo>
                  <a:lnTo>
                    <a:pt x="27813" y="344106"/>
                  </a:lnTo>
                  <a:lnTo>
                    <a:pt x="31788" y="355930"/>
                  </a:lnTo>
                  <a:lnTo>
                    <a:pt x="40043" y="365290"/>
                  </a:lnTo>
                  <a:lnTo>
                    <a:pt x="50863" y="370560"/>
                  </a:lnTo>
                  <a:lnTo>
                    <a:pt x="62877" y="371398"/>
                  </a:lnTo>
                  <a:lnTo>
                    <a:pt x="74701" y="367423"/>
                  </a:lnTo>
                  <a:lnTo>
                    <a:pt x="84048" y="359181"/>
                  </a:lnTo>
                  <a:lnTo>
                    <a:pt x="89331" y="348361"/>
                  </a:lnTo>
                  <a:lnTo>
                    <a:pt x="90170" y="336346"/>
                  </a:lnTo>
                  <a:close/>
                </a:path>
                <a:path w="474980" h="474980">
                  <a:moveTo>
                    <a:pt x="90170" y="138239"/>
                  </a:moveTo>
                  <a:lnTo>
                    <a:pt x="89331" y="126225"/>
                  </a:lnTo>
                  <a:lnTo>
                    <a:pt x="84048" y="115404"/>
                  </a:lnTo>
                  <a:lnTo>
                    <a:pt x="74701" y="107149"/>
                  </a:lnTo>
                  <a:lnTo>
                    <a:pt x="62877" y="103174"/>
                  </a:lnTo>
                  <a:lnTo>
                    <a:pt x="50863" y="104013"/>
                  </a:lnTo>
                  <a:lnTo>
                    <a:pt x="40043" y="109296"/>
                  </a:lnTo>
                  <a:lnTo>
                    <a:pt x="31800" y="118656"/>
                  </a:lnTo>
                  <a:lnTo>
                    <a:pt x="27813" y="130479"/>
                  </a:lnTo>
                  <a:lnTo>
                    <a:pt x="28651" y="142481"/>
                  </a:lnTo>
                  <a:lnTo>
                    <a:pt x="33934" y="153301"/>
                  </a:lnTo>
                  <a:lnTo>
                    <a:pt x="43281" y="161556"/>
                  </a:lnTo>
                  <a:lnTo>
                    <a:pt x="55105" y="165519"/>
                  </a:lnTo>
                  <a:lnTo>
                    <a:pt x="67119" y="164693"/>
                  </a:lnTo>
                  <a:lnTo>
                    <a:pt x="77939" y="159410"/>
                  </a:lnTo>
                  <a:lnTo>
                    <a:pt x="86194" y="150050"/>
                  </a:lnTo>
                  <a:lnTo>
                    <a:pt x="90170" y="138239"/>
                  </a:lnTo>
                  <a:close/>
                </a:path>
                <a:path w="474980" h="474980">
                  <a:moveTo>
                    <a:pt x="141947" y="237286"/>
                  </a:moveTo>
                  <a:lnTo>
                    <a:pt x="140106" y="228117"/>
                  </a:lnTo>
                  <a:lnTo>
                    <a:pt x="135051" y="220637"/>
                  </a:lnTo>
                  <a:lnTo>
                    <a:pt x="127571" y="215582"/>
                  </a:lnTo>
                  <a:lnTo>
                    <a:pt x="118402" y="213741"/>
                  </a:lnTo>
                  <a:lnTo>
                    <a:pt x="109232" y="215582"/>
                  </a:lnTo>
                  <a:lnTo>
                    <a:pt x="101752" y="220637"/>
                  </a:lnTo>
                  <a:lnTo>
                    <a:pt x="96697" y="228117"/>
                  </a:lnTo>
                  <a:lnTo>
                    <a:pt x="94856" y="237286"/>
                  </a:lnTo>
                  <a:lnTo>
                    <a:pt x="96697" y="246456"/>
                  </a:lnTo>
                  <a:lnTo>
                    <a:pt x="101752" y="253949"/>
                  </a:lnTo>
                  <a:lnTo>
                    <a:pt x="109232" y="258991"/>
                  </a:lnTo>
                  <a:lnTo>
                    <a:pt x="118402" y="260845"/>
                  </a:lnTo>
                  <a:lnTo>
                    <a:pt x="127571" y="258991"/>
                  </a:lnTo>
                  <a:lnTo>
                    <a:pt x="135051" y="253949"/>
                  </a:lnTo>
                  <a:lnTo>
                    <a:pt x="140106" y="246456"/>
                  </a:lnTo>
                  <a:lnTo>
                    <a:pt x="141947" y="237286"/>
                  </a:lnTo>
                  <a:close/>
                </a:path>
                <a:path w="474980" h="474980">
                  <a:moveTo>
                    <a:pt x="165519" y="419468"/>
                  </a:moveTo>
                  <a:lnTo>
                    <a:pt x="164680" y="407454"/>
                  </a:lnTo>
                  <a:lnTo>
                    <a:pt x="159397" y="396633"/>
                  </a:lnTo>
                  <a:lnTo>
                    <a:pt x="150050" y="388378"/>
                  </a:lnTo>
                  <a:lnTo>
                    <a:pt x="138226" y="384403"/>
                  </a:lnTo>
                  <a:lnTo>
                    <a:pt x="126212" y="385241"/>
                  </a:lnTo>
                  <a:lnTo>
                    <a:pt x="115392" y="390525"/>
                  </a:lnTo>
                  <a:lnTo>
                    <a:pt x="107149" y="399884"/>
                  </a:lnTo>
                  <a:lnTo>
                    <a:pt x="103174" y="411708"/>
                  </a:lnTo>
                  <a:lnTo>
                    <a:pt x="104013" y="423710"/>
                  </a:lnTo>
                  <a:lnTo>
                    <a:pt x="109296" y="434530"/>
                  </a:lnTo>
                  <a:lnTo>
                    <a:pt x="118643" y="442785"/>
                  </a:lnTo>
                  <a:lnTo>
                    <a:pt x="130467" y="446760"/>
                  </a:lnTo>
                  <a:lnTo>
                    <a:pt x="142481" y="445922"/>
                  </a:lnTo>
                  <a:lnTo>
                    <a:pt x="153301" y="440639"/>
                  </a:lnTo>
                  <a:lnTo>
                    <a:pt x="161544" y="431292"/>
                  </a:lnTo>
                  <a:lnTo>
                    <a:pt x="165519" y="419468"/>
                  </a:lnTo>
                  <a:close/>
                </a:path>
                <a:path w="474980" h="474980">
                  <a:moveTo>
                    <a:pt x="165519" y="55118"/>
                  </a:moveTo>
                  <a:lnTo>
                    <a:pt x="161544" y="43294"/>
                  </a:lnTo>
                  <a:lnTo>
                    <a:pt x="153301" y="33947"/>
                  </a:lnTo>
                  <a:lnTo>
                    <a:pt x="142481" y="28663"/>
                  </a:lnTo>
                  <a:lnTo>
                    <a:pt x="130467" y="27825"/>
                  </a:lnTo>
                  <a:lnTo>
                    <a:pt x="118643" y="31800"/>
                  </a:lnTo>
                  <a:lnTo>
                    <a:pt x="109296" y="40043"/>
                  </a:lnTo>
                  <a:lnTo>
                    <a:pt x="104013" y="50876"/>
                  </a:lnTo>
                  <a:lnTo>
                    <a:pt x="103174" y="62890"/>
                  </a:lnTo>
                  <a:lnTo>
                    <a:pt x="107149" y="74714"/>
                  </a:lnTo>
                  <a:lnTo>
                    <a:pt x="115404" y="84061"/>
                  </a:lnTo>
                  <a:lnTo>
                    <a:pt x="126212" y="89331"/>
                  </a:lnTo>
                  <a:lnTo>
                    <a:pt x="138226" y="90170"/>
                  </a:lnTo>
                  <a:lnTo>
                    <a:pt x="150050" y="86194"/>
                  </a:lnTo>
                  <a:lnTo>
                    <a:pt x="159410" y="77952"/>
                  </a:lnTo>
                  <a:lnTo>
                    <a:pt x="164680" y="67132"/>
                  </a:lnTo>
                  <a:lnTo>
                    <a:pt x="165519" y="55118"/>
                  </a:lnTo>
                  <a:close/>
                </a:path>
                <a:path w="474980" h="474980">
                  <a:moveTo>
                    <a:pt x="176771" y="321348"/>
                  </a:moveTo>
                  <a:lnTo>
                    <a:pt x="175056" y="312483"/>
                  </a:lnTo>
                  <a:lnTo>
                    <a:pt x="169875" y="304698"/>
                  </a:lnTo>
                  <a:lnTo>
                    <a:pt x="162077" y="299529"/>
                  </a:lnTo>
                  <a:lnTo>
                    <a:pt x="153225" y="297802"/>
                  </a:lnTo>
                  <a:lnTo>
                    <a:pt x="144360" y="299529"/>
                  </a:lnTo>
                  <a:lnTo>
                    <a:pt x="136563" y="304698"/>
                  </a:lnTo>
                  <a:lnTo>
                    <a:pt x="131394" y="312483"/>
                  </a:lnTo>
                  <a:lnTo>
                    <a:pt x="129667" y="321348"/>
                  </a:lnTo>
                  <a:lnTo>
                    <a:pt x="131394" y="330212"/>
                  </a:lnTo>
                  <a:lnTo>
                    <a:pt x="136563" y="338010"/>
                  </a:lnTo>
                  <a:lnTo>
                    <a:pt x="144360" y="343179"/>
                  </a:lnTo>
                  <a:lnTo>
                    <a:pt x="153225" y="344906"/>
                  </a:lnTo>
                  <a:lnTo>
                    <a:pt x="162077" y="343179"/>
                  </a:lnTo>
                  <a:lnTo>
                    <a:pt x="169875" y="338010"/>
                  </a:lnTo>
                  <a:lnTo>
                    <a:pt x="175056" y="330212"/>
                  </a:lnTo>
                  <a:lnTo>
                    <a:pt x="176771" y="321348"/>
                  </a:lnTo>
                  <a:close/>
                </a:path>
                <a:path w="474980" h="474980">
                  <a:moveTo>
                    <a:pt x="176784" y="153225"/>
                  </a:moveTo>
                  <a:lnTo>
                    <a:pt x="175056" y="144360"/>
                  </a:lnTo>
                  <a:lnTo>
                    <a:pt x="169875" y="136575"/>
                  </a:lnTo>
                  <a:lnTo>
                    <a:pt x="162090" y="131394"/>
                  </a:lnTo>
                  <a:lnTo>
                    <a:pt x="153225" y="129679"/>
                  </a:lnTo>
                  <a:lnTo>
                    <a:pt x="144360" y="131394"/>
                  </a:lnTo>
                  <a:lnTo>
                    <a:pt x="136575" y="136575"/>
                  </a:lnTo>
                  <a:lnTo>
                    <a:pt x="131394" y="144360"/>
                  </a:lnTo>
                  <a:lnTo>
                    <a:pt x="129667" y="153225"/>
                  </a:lnTo>
                  <a:lnTo>
                    <a:pt x="131394" y="162090"/>
                  </a:lnTo>
                  <a:lnTo>
                    <a:pt x="136575" y="169875"/>
                  </a:lnTo>
                  <a:lnTo>
                    <a:pt x="144360" y="175056"/>
                  </a:lnTo>
                  <a:lnTo>
                    <a:pt x="153225" y="176784"/>
                  </a:lnTo>
                  <a:lnTo>
                    <a:pt x="162090" y="175056"/>
                  </a:lnTo>
                  <a:lnTo>
                    <a:pt x="169875" y="169875"/>
                  </a:lnTo>
                  <a:lnTo>
                    <a:pt x="175056" y="162090"/>
                  </a:lnTo>
                  <a:lnTo>
                    <a:pt x="176784" y="153225"/>
                  </a:lnTo>
                  <a:close/>
                </a:path>
                <a:path w="474980" h="474980">
                  <a:moveTo>
                    <a:pt x="209016" y="261874"/>
                  </a:moveTo>
                  <a:lnTo>
                    <a:pt x="201853" y="249478"/>
                  </a:lnTo>
                  <a:lnTo>
                    <a:pt x="193941" y="247357"/>
                  </a:lnTo>
                  <a:lnTo>
                    <a:pt x="187744" y="250939"/>
                  </a:lnTo>
                  <a:lnTo>
                    <a:pt x="181546" y="254520"/>
                  </a:lnTo>
                  <a:lnTo>
                    <a:pt x="179412" y="262432"/>
                  </a:lnTo>
                  <a:lnTo>
                    <a:pt x="186575" y="274828"/>
                  </a:lnTo>
                  <a:lnTo>
                    <a:pt x="194500" y="276961"/>
                  </a:lnTo>
                  <a:lnTo>
                    <a:pt x="206895" y="269798"/>
                  </a:lnTo>
                  <a:lnTo>
                    <a:pt x="209016" y="261874"/>
                  </a:lnTo>
                  <a:close/>
                </a:path>
                <a:path w="474980" h="474980">
                  <a:moveTo>
                    <a:pt x="209016" y="212699"/>
                  </a:moveTo>
                  <a:lnTo>
                    <a:pt x="206895" y="204787"/>
                  </a:lnTo>
                  <a:lnTo>
                    <a:pt x="200698" y="201206"/>
                  </a:lnTo>
                  <a:lnTo>
                    <a:pt x="194500" y="197624"/>
                  </a:lnTo>
                  <a:lnTo>
                    <a:pt x="186575" y="199745"/>
                  </a:lnTo>
                  <a:lnTo>
                    <a:pt x="179425" y="212153"/>
                  </a:lnTo>
                  <a:lnTo>
                    <a:pt x="181546" y="220078"/>
                  </a:lnTo>
                  <a:lnTo>
                    <a:pt x="193941" y="227228"/>
                  </a:lnTo>
                  <a:lnTo>
                    <a:pt x="201853" y="225107"/>
                  </a:lnTo>
                  <a:lnTo>
                    <a:pt x="209016" y="212699"/>
                  </a:lnTo>
                  <a:close/>
                </a:path>
                <a:path w="474980" h="474980">
                  <a:moveTo>
                    <a:pt x="250240" y="279869"/>
                  </a:moveTo>
                  <a:lnTo>
                    <a:pt x="244449" y="274066"/>
                  </a:lnTo>
                  <a:lnTo>
                    <a:pt x="230136" y="274066"/>
                  </a:lnTo>
                  <a:lnTo>
                    <a:pt x="224332" y="279869"/>
                  </a:lnTo>
                  <a:lnTo>
                    <a:pt x="224332" y="287020"/>
                  </a:lnTo>
                  <a:lnTo>
                    <a:pt x="224332" y="294170"/>
                  </a:lnTo>
                  <a:lnTo>
                    <a:pt x="230136" y="299974"/>
                  </a:lnTo>
                  <a:lnTo>
                    <a:pt x="244449" y="299974"/>
                  </a:lnTo>
                  <a:lnTo>
                    <a:pt x="250240" y="294170"/>
                  </a:lnTo>
                  <a:lnTo>
                    <a:pt x="250240" y="279869"/>
                  </a:lnTo>
                  <a:close/>
                </a:path>
                <a:path w="474980" h="474980">
                  <a:moveTo>
                    <a:pt x="250240" y="180416"/>
                  </a:moveTo>
                  <a:lnTo>
                    <a:pt x="244436" y="174612"/>
                  </a:lnTo>
                  <a:lnTo>
                    <a:pt x="230124" y="174612"/>
                  </a:lnTo>
                  <a:lnTo>
                    <a:pt x="224332" y="180416"/>
                  </a:lnTo>
                  <a:lnTo>
                    <a:pt x="224332" y="194716"/>
                  </a:lnTo>
                  <a:lnTo>
                    <a:pt x="230124" y="200520"/>
                  </a:lnTo>
                  <a:lnTo>
                    <a:pt x="244436" y="200520"/>
                  </a:lnTo>
                  <a:lnTo>
                    <a:pt x="250240" y="194716"/>
                  </a:lnTo>
                  <a:lnTo>
                    <a:pt x="250240" y="187566"/>
                  </a:lnTo>
                  <a:lnTo>
                    <a:pt x="250240" y="180416"/>
                  </a:lnTo>
                  <a:close/>
                </a:path>
                <a:path w="474980" h="474980">
                  <a:moveTo>
                    <a:pt x="260832" y="356171"/>
                  </a:moveTo>
                  <a:lnTo>
                    <a:pt x="258991" y="347002"/>
                  </a:lnTo>
                  <a:lnTo>
                    <a:pt x="253936" y="339521"/>
                  </a:lnTo>
                  <a:lnTo>
                    <a:pt x="246456" y="334479"/>
                  </a:lnTo>
                  <a:lnTo>
                    <a:pt x="237274" y="332625"/>
                  </a:lnTo>
                  <a:lnTo>
                    <a:pt x="228117" y="334479"/>
                  </a:lnTo>
                  <a:lnTo>
                    <a:pt x="220624" y="339521"/>
                  </a:lnTo>
                  <a:lnTo>
                    <a:pt x="215582" y="347002"/>
                  </a:lnTo>
                  <a:lnTo>
                    <a:pt x="213728" y="356171"/>
                  </a:lnTo>
                  <a:lnTo>
                    <a:pt x="215582" y="365340"/>
                  </a:lnTo>
                  <a:lnTo>
                    <a:pt x="220624" y="372833"/>
                  </a:lnTo>
                  <a:lnTo>
                    <a:pt x="228117" y="377875"/>
                  </a:lnTo>
                  <a:lnTo>
                    <a:pt x="237274" y="379717"/>
                  </a:lnTo>
                  <a:lnTo>
                    <a:pt x="246456" y="377875"/>
                  </a:lnTo>
                  <a:lnTo>
                    <a:pt x="253936" y="372833"/>
                  </a:lnTo>
                  <a:lnTo>
                    <a:pt x="258991" y="365340"/>
                  </a:lnTo>
                  <a:lnTo>
                    <a:pt x="260832" y="356171"/>
                  </a:lnTo>
                  <a:close/>
                </a:path>
                <a:path w="474980" h="474980">
                  <a:moveTo>
                    <a:pt x="260845" y="118402"/>
                  </a:moveTo>
                  <a:lnTo>
                    <a:pt x="258991" y="109245"/>
                  </a:lnTo>
                  <a:lnTo>
                    <a:pt x="253936" y="101752"/>
                  </a:lnTo>
                  <a:lnTo>
                    <a:pt x="246456" y="96710"/>
                  </a:lnTo>
                  <a:lnTo>
                    <a:pt x="237286" y="94856"/>
                  </a:lnTo>
                  <a:lnTo>
                    <a:pt x="228117" y="96710"/>
                  </a:lnTo>
                  <a:lnTo>
                    <a:pt x="220637" y="101752"/>
                  </a:lnTo>
                  <a:lnTo>
                    <a:pt x="215582" y="109245"/>
                  </a:lnTo>
                  <a:lnTo>
                    <a:pt x="213728" y="118402"/>
                  </a:lnTo>
                  <a:lnTo>
                    <a:pt x="215582" y="127584"/>
                  </a:lnTo>
                  <a:lnTo>
                    <a:pt x="220637" y="135064"/>
                  </a:lnTo>
                  <a:lnTo>
                    <a:pt x="228117" y="140119"/>
                  </a:lnTo>
                  <a:lnTo>
                    <a:pt x="237286" y="141960"/>
                  </a:lnTo>
                  <a:lnTo>
                    <a:pt x="246456" y="140119"/>
                  </a:lnTo>
                  <a:lnTo>
                    <a:pt x="253936" y="135064"/>
                  </a:lnTo>
                  <a:lnTo>
                    <a:pt x="258991" y="127584"/>
                  </a:lnTo>
                  <a:lnTo>
                    <a:pt x="260845" y="118402"/>
                  </a:lnTo>
                  <a:close/>
                </a:path>
                <a:path w="474980" h="474980">
                  <a:moveTo>
                    <a:pt x="268693" y="443166"/>
                  </a:moveTo>
                  <a:lnTo>
                    <a:pt x="266230" y="430936"/>
                  </a:lnTo>
                  <a:lnTo>
                    <a:pt x="259499" y="420954"/>
                  </a:lnTo>
                  <a:lnTo>
                    <a:pt x="249516" y="414223"/>
                  </a:lnTo>
                  <a:lnTo>
                    <a:pt x="237286" y="411746"/>
                  </a:lnTo>
                  <a:lnTo>
                    <a:pt x="225069" y="414223"/>
                  </a:lnTo>
                  <a:lnTo>
                    <a:pt x="215074" y="420954"/>
                  </a:lnTo>
                  <a:lnTo>
                    <a:pt x="208343" y="430936"/>
                  </a:lnTo>
                  <a:lnTo>
                    <a:pt x="205879" y="443166"/>
                  </a:lnTo>
                  <a:lnTo>
                    <a:pt x="208343" y="455396"/>
                  </a:lnTo>
                  <a:lnTo>
                    <a:pt x="215074" y="465378"/>
                  </a:lnTo>
                  <a:lnTo>
                    <a:pt x="225069" y="472109"/>
                  </a:lnTo>
                  <a:lnTo>
                    <a:pt x="237286" y="474573"/>
                  </a:lnTo>
                  <a:lnTo>
                    <a:pt x="249516" y="472109"/>
                  </a:lnTo>
                  <a:lnTo>
                    <a:pt x="259499" y="465378"/>
                  </a:lnTo>
                  <a:lnTo>
                    <a:pt x="266230" y="455396"/>
                  </a:lnTo>
                  <a:lnTo>
                    <a:pt x="268693" y="443166"/>
                  </a:lnTo>
                  <a:close/>
                </a:path>
                <a:path w="474980" h="474980">
                  <a:moveTo>
                    <a:pt x="268693" y="31419"/>
                  </a:moveTo>
                  <a:lnTo>
                    <a:pt x="266230" y="19189"/>
                  </a:lnTo>
                  <a:lnTo>
                    <a:pt x="259486" y="9207"/>
                  </a:lnTo>
                  <a:lnTo>
                    <a:pt x="249504" y="2476"/>
                  </a:lnTo>
                  <a:lnTo>
                    <a:pt x="237274" y="0"/>
                  </a:lnTo>
                  <a:lnTo>
                    <a:pt x="225056" y="2476"/>
                  </a:lnTo>
                  <a:lnTo>
                    <a:pt x="215074" y="9207"/>
                  </a:lnTo>
                  <a:lnTo>
                    <a:pt x="208343" y="19189"/>
                  </a:lnTo>
                  <a:lnTo>
                    <a:pt x="205879" y="31419"/>
                  </a:lnTo>
                  <a:lnTo>
                    <a:pt x="208343" y="43649"/>
                  </a:lnTo>
                  <a:lnTo>
                    <a:pt x="215074" y="53632"/>
                  </a:lnTo>
                  <a:lnTo>
                    <a:pt x="225056" y="60363"/>
                  </a:lnTo>
                  <a:lnTo>
                    <a:pt x="237274" y="62826"/>
                  </a:lnTo>
                  <a:lnTo>
                    <a:pt x="249504" y="60363"/>
                  </a:lnTo>
                  <a:lnTo>
                    <a:pt x="259486" y="53632"/>
                  </a:lnTo>
                  <a:lnTo>
                    <a:pt x="266230" y="43649"/>
                  </a:lnTo>
                  <a:lnTo>
                    <a:pt x="268693" y="31419"/>
                  </a:lnTo>
                  <a:close/>
                </a:path>
                <a:path w="474980" h="474980">
                  <a:moveTo>
                    <a:pt x="295148" y="262432"/>
                  </a:moveTo>
                  <a:lnTo>
                    <a:pt x="293027" y="254508"/>
                  </a:lnTo>
                  <a:lnTo>
                    <a:pt x="280631" y="247357"/>
                  </a:lnTo>
                  <a:lnTo>
                    <a:pt x="272707" y="249478"/>
                  </a:lnTo>
                  <a:lnTo>
                    <a:pt x="265544" y="261874"/>
                  </a:lnTo>
                  <a:lnTo>
                    <a:pt x="267677" y="269798"/>
                  </a:lnTo>
                  <a:lnTo>
                    <a:pt x="273875" y="273380"/>
                  </a:lnTo>
                  <a:lnTo>
                    <a:pt x="280073" y="276961"/>
                  </a:lnTo>
                  <a:lnTo>
                    <a:pt x="287985" y="274828"/>
                  </a:lnTo>
                  <a:lnTo>
                    <a:pt x="295148" y="262432"/>
                  </a:lnTo>
                  <a:close/>
                </a:path>
                <a:path w="474980" h="474980">
                  <a:moveTo>
                    <a:pt x="295148" y="212153"/>
                  </a:moveTo>
                  <a:lnTo>
                    <a:pt x="287985" y="199758"/>
                  </a:lnTo>
                  <a:lnTo>
                    <a:pt x="280073" y="197624"/>
                  </a:lnTo>
                  <a:lnTo>
                    <a:pt x="267677" y="204774"/>
                  </a:lnTo>
                  <a:lnTo>
                    <a:pt x="265557" y="212699"/>
                  </a:lnTo>
                  <a:lnTo>
                    <a:pt x="272707" y="225107"/>
                  </a:lnTo>
                  <a:lnTo>
                    <a:pt x="280631" y="227228"/>
                  </a:lnTo>
                  <a:lnTo>
                    <a:pt x="286829" y="223647"/>
                  </a:lnTo>
                  <a:lnTo>
                    <a:pt x="293027" y="220065"/>
                  </a:lnTo>
                  <a:lnTo>
                    <a:pt x="295148" y="212153"/>
                  </a:lnTo>
                  <a:close/>
                </a:path>
                <a:path w="474980" h="474980">
                  <a:moveTo>
                    <a:pt x="344893" y="153225"/>
                  </a:moveTo>
                  <a:lnTo>
                    <a:pt x="343179" y="144360"/>
                  </a:lnTo>
                  <a:lnTo>
                    <a:pt x="338010" y="136575"/>
                  </a:lnTo>
                  <a:lnTo>
                    <a:pt x="330212" y="131394"/>
                  </a:lnTo>
                  <a:lnTo>
                    <a:pt x="321348" y="129667"/>
                  </a:lnTo>
                  <a:lnTo>
                    <a:pt x="312483" y="131394"/>
                  </a:lnTo>
                  <a:lnTo>
                    <a:pt x="304698" y="136575"/>
                  </a:lnTo>
                  <a:lnTo>
                    <a:pt x="299516" y="144360"/>
                  </a:lnTo>
                  <a:lnTo>
                    <a:pt x="297789" y="153225"/>
                  </a:lnTo>
                  <a:lnTo>
                    <a:pt x="299516" y="162090"/>
                  </a:lnTo>
                  <a:lnTo>
                    <a:pt x="304698" y="169887"/>
                  </a:lnTo>
                  <a:lnTo>
                    <a:pt x="312483" y="175056"/>
                  </a:lnTo>
                  <a:lnTo>
                    <a:pt x="321348" y="176784"/>
                  </a:lnTo>
                  <a:lnTo>
                    <a:pt x="330212" y="175056"/>
                  </a:lnTo>
                  <a:lnTo>
                    <a:pt x="338010" y="169887"/>
                  </a:lnTo>
                  <a:lnTo>
                    <a:pt x="343179" y="162090"/>
                  </a:lnTo>
                  <a:lnTo>
                    <a:pt x="344893" y="153225"/>
                  </a:lnTo>
                  <a:close/>
                </a:path>
                <a:path w="474980" h="474980">
                  <a:moveTo>
                    <a:pt x="344906" y="321348"/>
                  </a:moveTo>
                  <a:lnTo>
                    <a:pt x="343179" y="312496"/>
                  </a:lnTo>
                  <a:lnTo>
                    <a:pt x="337997" y="304698"/>
                  </a:lnTo>
                  <a:lnTo>
                    <a:pt x="330212" y="299529"/>
                  </a:lnTo>
                  <a:lnTo>
                    <a:pt x="321348" y="297802"/>
                  </a:lnTo>
                  <a:lnTo>
                    <a:pt x="312483" y="299529"/>
                  </a:lnTo>
                  <a:lnTo>
                    <a:pt x="304698" y="304698"/>
                  </a:lnTo>
                  <a:lnTo>
                    <a:pt x="299516" y="312496"/>
                  </a:lnTo>
                  <a:lnTo>
                    <a:pt x="297802" y="321348"/>
                  </a:lnTo>
                  <a:lnTo>
                    <a:pt x="299516" y="330212"/>
                  </a:lnTo>
                  <a:lnTo>
                    <a:pt x="304698" y="338010"/>
                  </a:lnTo>
                  <a:lnTo>
                    <a:pt x="312483" y="343179"/>
                  </a:lnTo>
                  <a:lnTo>
                    <a:pt x="321348" y="344906"/>
                  </a:lnTo>
                  <a:lnTo>
                    <a:pt x="330212" y="343179"/>
                  </a:lnTo>
                  <a:lnTo>
                    <a:pt x="337997" y="338010"/>
                  </a:lnTo>
                  <a:lnTo>
                    <a:pt x="343179" y="330212"/>
                  </a:lnTo>
                  <a:lnTo>
                    <a:pt x="344906" y="321348"/>
                  </a:lnTo>
                  <a:close/>
                </a:path>
                <a:path w="474980" h="474980">
                  <a:moveTo>
                    <a:pt x="371398" y="411695"/>
                  </a:moveTo>
                  <a:lnTo>
                    <a:pt x="367423" y="399872"/>
                  </a:lnTo>
                  <a:lnTo>
                    <a:pt x="359168" y="390525"/>
                  </a:lnTo>
                  <a:lnTo>
                    <a:pt x="348348" y="385241"/>
                  </a:lnTo>
                  <a:lnTo>
                    <a:pt x="336346" y="384403"/>
                  </a:lnTo>
                  <a:lnTo>
                    <a:pt x="324523" y="388391"/>
                  </a:lnTo>
                  <a:lnTo>
                    <a:pt x="315163" y="396633"/>
                  </a:lnTo>
                  <a:lnTo>
                    <a:pt x="309880" y="407454"/>
                  </a:lnTo>
                  <a:lnTo>
                    <a:pt x="309054" y="419468"/>
                  </a:lnTo>
                  <a:lnTo>
                    <a:pt x="313016" y="431292"/>
                  </a:lnTo>
                  <a:lnTo>
                    <a:pt x="321271" y="440639"/>
                  </a:lnTo>
                  <a:lnTo>
                    <a:pt x="332092" y="445922"/>
                  </a:lnTo>
                  <a:lnTo>
                    <a:pt x="344106" y="446760"/>
                  </a:lnTo>
                  <a:lnTo>
                    <a:pt x="355917" y="442785"/>
                  </a:lnTo>
                  <a:lnTo>
                    <a:pt x="365277" y="434530"/>
                  </a:lnTo>
                  <a:lnTo>
                    <a:pt x="370560" y="423710"/>
                  </a:lnTo>
                  <a:lnTo>
                    <a:pt x="371398" y="411695"/>
                  </a:lnTo>
                  <a:close/>
                </a:path>
                <a:path w="474980" h="474980">
                  <a:moveTo>
                    <a:pt x="371398" y="62877"/>
                  </a:moveTo>
                  <a:lnTo>
                    <a:pt x="370560" y="50863"/>
                  </a:lnTo>
                  <a:lnTo>
                    <a:pt x="365277" y="40055"/>
                  </a:lnTo>
                  <a:lnTo>
                    <a:pt x="355930" y="31800"/>
                  </a:lnTo>
                  <a:lnTo>
                    <a:pt x="344106" y="27825"/>
                  </a:lnTo>
                  <a:lnTo>
                    <a:pt x="332092" y="28663"/>
                  </a:lnTo>
                  <a:lnTo>
                    <a:pt x="321271" y="33934"/>
                  </a:lnTo>
                  <a:lnTo>
                    <a:pt x="313029" y="43294"/>
                  </a:lnTo>
                  <a:lnTo>
                    <a:pt x="309054" y="55118"/>
                  </a:lnTo>
                  <a:lnTo>
                    <a:pt x="309892" y="67132"/>
                  </a:lnTo>
                  <a:lnTo>
                    <a:pt x="315163" y="77952"/>
                  </a:lnTo>
                  <a:lnTo>
                    <a:pt x="324523" y="86194"/>
                  </a:lnTo>
                  <a:lnTo>
                    <a:pt x="336346" y="90170"/>
                  </a:lnTo>
                  <a:lnTo>
                    <a:pt x="348348" y="89331"/>
                  </a:lnTo>
                  <a:lnTo>
                    <a:pt x="359168" y="84061"/>
                  </a:lnTo>
                  <a:lnTo>
                    <a:pt x="367423" y="74701"/>
                  </a:lnTo>
                  <a:lnTo>
                    <a:pt x="371398" y="62877"/>
                  </a:lnTo>
                  <a:close/>
                </a:path>
                <a:path w="474980" h="474980">
                  <a:moveTo>
                    <a:pt x="379717" y="237286"/>
                  </a:moveTo>
                  <a:lnTo>
                    <a:pt x="377863" y="228117"/>
                  </a:lnTo>
                  <a:lnTo>
                    <a:pt x="372821" y="220637"/>
                  </a:lnTo>
                  <a:lnTo>
                    <a:pt x="365340" y="215582"/>
                  </a:lnTo>
                  <a:lnTo>
                    <a:pt x="356171" y="213741"/>
                  </a:lnTo>
                  <a:lnTo>
                    <a:pt x="347002" y="215582"/>
                  </a:lnTo>
                  <a:lnTo>
                    <a:pt x="339509" y="220637"/>
                  </a:lnTo>
                  <a:lnTo>
                    <a:pt x="334467" y="228117"/>
                  </a:lnTo>
                  <a:lnTo>
                    <a:pt x="332625" y="237286"/>
                  </a:lnTo>
                  <a:lnTo>
                    <a:pt x="334467" y="246456"/>
                  </a:lnTo>
                  <a:lnTo>
                    <a:pt x="339509" y="253949"/>
                  </a:lnTo>
                  <a:lnTo>
                    <a:pt x="347002" y="258991"/>
                  </a:lnTo>
                  <a:lnTo>
                    <a:pt x="356171" y="260845"/>
                  </a:lnTo>
                  <a:lnTo>
                    <a:pt x="365340" y="258991"/>
                  </a:lnTo>
                  <a:lnTo>
                    <a:pt x="372821" y="253949"/>
                  </a:lnTo>
                  <a:lnTo>
                    <a:pt x="377863" y="246456"/>
                  </a:lnTo>
                  <a:lnTo>
                    <a:pt x="379717" y="237286"/>
                  </a:lnTo>
                  <a:close/>
                </a:path>
                <a:path w="474980" h="474980">
                  <a:moveTo>
                    <a:pt x="446747" y="344106"/>
                  </a:moveTo>
                  <a:lnTo>
                    <a:pt x="445909" y="332092"/>
                  </a:lnTo>
                  <a:lnTo>
                    <a:pt x="440639" y="321284"/>
                  </a:lnTo>
                  <a:lnTo>
                    <a:pt x="431292" y="313029"/>
                  </a:lnTo>
                  <a:lnTo>
                    <a:pt x="419468" y="309054"/>
                  </a:lnTo>
                  <a:lnTo>
                    <a:pt x="407454" y="309892"/>
                  </a:lnTo>
                  <a:lnTo>
                    <a:pt x="396621" y="315175"/>
                  </a:lnTo>
                  <a:lnTo>
                    <a:pt x="388378" y="324523"/>
                  </a:lnTo>
                  <a:lnTo>
                    <a:pt x="384403" y="336346"/>
                  </a:lnTo>
                  <a:lnTo>
                    <a:pt x="385241" y="348361"/>
                  </a:lnTo>
                  <a:lnTo>
                    <a:pt x="390525" y="359181"/>
                  </a:lnTo>
                  <a:lnTo>
                    <a:pt x="399872" y="367423"/>
                  </a:lnTo>
                  <a:lnTo>
                    <a:pt x="411695" y="371398"/>
                  </a:lnTo>
                  <a:lnTo>
                    <a:pt x="423710" y="370560"/>
                  </a:lnTo>
                  <a:lnTo>
                    <a:pt x="434530" y="365290"/>
                  </a:lnTo>
                  <a:lnTo>
                    <a:pt x="442772" y="355930"/>
                  </a:lnTo>
                  <a:lnTo>
                    <a:pt x="446747" y="344106"/>
                  </a:lnTo>
                  <a:close/>
                </a:path>
                <a:path w="474980" h="474980">
                  <a:moveTo>
                    <a:pt x="446747" y="130467"/>
                  </a:moveTo>
                  <a:lnTo>
                    <a:pt x="442772" y="118656"/>
                  </a:lnTo>
                  <a:lnTo>
                    <a:pt x="434530" y="109296"/>
                  </a:lnTo>
                  <a:lnTo>
                    <a:pt x="423710" y="104025"/>
                  </a:lnTo>
                  <a:lnTo>
                    <a:pt x="411695" y="103187"/>
                  </a:lnTo>
                  <a:lnTo>
                    <a:pt x="399872" y="107162"/>
                  </a:lnTo>
                  <a:lnTo>
                    <a:pt x="390525" y="115404"/>
                  </a:lnTo>
                  <a:lnTo>
                    <a:pt x="385241" y="126225"/>
                  </a:lnTo>
                  <a:lnTo>
                    <a:pt x="384403" y="138239"/>
                  </a:lnTo>
                  <a:lnTo>
                    <a:pt x="388378" y="150050"/>
                  </a:lnTo>
                  <a:lnTo>
                    <a:pt x="396633" y="159410"/>
                  </a:lnTo>
                  <a:lnTo>
                    <a:pt x="407454" y="164693"/>
                  </a:lnTo>
                  <a:lnTo>
                    <a:pt x="419455" y="165531"/>
                  </a:lnTo>
                  <a:lnTo>
                    <a:pt x="431279" y="161556"/>
                  </a:lnTo>
                  <a:lnTo>
                    <a:pt x="440639" y="153301"/>
                  </a:lnTo>
                  <a:lnTo>
                    <a:pt x="445909" y="142481"/>
                  </a:lnTo>
                  <a:lnTo>
                    <a:pt x="446747" y="130467"/>
                  </a:lnTo>
                  <a:close/>
                </a:path>
                <a:path w="474980" h="474980">
                  <a:moveTo>
                    <a:pt x="474573" y="237286"/>
                  </a:moveTo>
                  <a:lnTo>
                    <a:pt x="472109" y="225069"/>
                  </a:lnTo>
                  <a:lnTo>
                    <a:pt x="465366" y="215087"/>
                  </a:lnTo>
                  <a:lnTo>
                    <a:pt x="455383" y="208356"/>
                  </a:lnTo>
                  <a:lnTo>
                    <a:pt x="443153" y="205879"/>
                  </a:lnTo>
                  <a:lnTo>
                    <a:pt x="430936" y="208356"/>
                  </a:lnTo>
                  <a:lnTo>
                    <a:pt x="420941" y="215087"/>
                  </a:lnTo>
                  <a:lnTo>
                    <a:pt x="414210" y="225069"/>
                  </a:lnTo>
                  <a:lnTo>
                    <a:pt x="411746" y="237286"/>
                  </a:lnTo>
                  <a:lnTo>
                    <a:pt x="414210" y="249516"/>
                  </a:lnTo>
                  <a:lnTo>
                    <a:pt x="420941" y="259499"/>
                  </a:lnTo>
                  <a:lnTo>
                    <a:pt x="430936" y="266230"/>
                  </a:lnTo>
                  <a:lnTo>
                    <a:pt x="443153" y="268693"/>
                  </a:lnTo>
                  <a:lnTo>
                    <a:pt x="455383" y="266230"/>
                  </a:lnTo>
                  <a:lnTo>
                    <a:pt x="465366" y="259499"/>
                  </a:lnTo>
                  <a:lnTo>
                    <a:pt x="472109" y="249516"/>
                  </a:lnTo>
                  <a:lnTo>
                    <a:pt x="474573" y="237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82A69B8-8BA3-E9DC-7A9D-FA14853D36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14532EF3-B6F0-B76B-9CFE-47CDEDAE2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513736"/>
            <a:ext cx="5310188" cy="1636991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Presentation title 3 </a:t>
            </a:r>
            <a:br>
              <a:rPr lang="en-GB" dirty="0"/>
            </a:br>
            <a:r>
              <a:rPr lang="en-GB" dirty="0"/>
              <a:t>that can break over three lines</a:t>
            </a:r>
            <a:endParaRPr lang="en-US" dirty="0"/>
          </a:p>
        </p:txBody>
      </p:sp>
      <p:sp>
        <p:nvSpPr>
          <p:cNvPr id="16" name="Text Placeholder 42">
            <a:extLst>
              <a:ext uri="{FF2B5EF4-FFF2-40B4-BE49-F238E27FC236}">
                <a16:creationId xmlns:a16="http://schemas.microsoft.com/office/drawing/2014/main" id="{7EE589D2-2A0B-A195-0E4D-E790A208C6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623" y="4438553"/>
            <a:ext cx="4248150" cy="86302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400" spc="-8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800" spc="-40" baseline="0"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Presentation subtitle goes here over two lines if required. 24pt. 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ACB6CFB-017C-07CB-C76D-D9162BE65281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  <a:solidFill>
            <a:schemeClr val="bg1"/>
          </a:solidFill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6AA5BB6-48E5-8E32-B4AA-B288D7B7E4A2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4D478FC-C1D6-0DE6-37C6-AA33FAD9B03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8137BB38-0D85-AF41-480D-149A509D2BC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3AD72DA-E868-B4DE-E8F7-70DDC92BB2E7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BD0C1D91-FFA1-5FDB-CEB8-B0B02CFC7AA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D82E447C-7A71-9209-D595-EE57E23B3EB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7" name="object 3">
            <a:extLst>
              <a:ext uri="{FF2B5EF4-FFF2-40B4-BE49-F238E27FC236}">
                <a16:creationId xmlns:a16="http://schemas.microsoft.com/office/drawing/2014/main" id="{C5EF4511-BC4F-0983-B1FD-B1C40AF754A9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58531630-32B9-1621-E0BF-AB57475FA4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2057891"/>
            <a:ext cx="5310188" cy="310352"/>
          </a:xfrm>
        </p:spPr>
        <p:txBody>
          <a:bodyPr/>
          <a:lstStyle>
            <a:lvl1pPr>
              <a:defRPr sz="1800" b="1" spc="-2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9A87186C-6BB8-7F54-1DBF-FCB960A850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 presentation title 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9060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EC763B1-4CBB-9747-FBB3-F524D99EF5C8}"/>
              </a:ext>
            </a:extLst>
          </p:cNvPr>
          <p:cNvGrpSpPr/>
          <p:nvPr userDrawn="1"/>
        </p:nvGrpSpPr>
        <p:grpSpPr>
          <a:xfrm>
            <a:off x="143595" y="135785"/>
            <a:ext cx="1089185" cy="288028"/>
            <a:chOff x="143595" y="135785"/>
            <a:chExt cx="1089185" cy="288028"/>
          </a:xfrm>
          <a:solidFill>
            <a:schemeClr val="bg1"/>
          </a:solidFill>
        </p:grpSpPr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11BC098D-8670-1613-A0B1-8B6FCABEC146}"/>
                </a:ext>
              </a:extLst>
            </p:cNvPr>
            <p:cNvSpPr/>
            <p:nvPr userDrawn="1"/>
          </p:nvSpPr>
          <p:spPr>
            <a:xfrm>
              <a:off x="478824" y="191457"/>
              <a:ext cx="753956" cy="175204"/>
            </a:xfrm>
            <a:custGeom>
              <a:avLst/>
              <a:gdLst/>
              <a:ahLst/>
              <a:cxnLst/>
              <a:rect l="l" t="t" r="r" b="b"/>
              <a:pathLst>
                <a:path w="1243330" h="288925">
                  <a:moveTo>
                    <a:pt x="39223" y="4994"/>
                  </a:moveTo>
                  <a:lnTo>
                    <a:pt x="0" y="4994"/>
                  </a:lnTo>
                  <a:lnTo>
                    <a:pt x="0" y="170361"/>
                  </a:lnTo>
                  <a:lnTo>
                    <a:pt x="6495" y="225537"/>
                  </a:lnTo>
                  <a:lnTo>
                    <a:pt x="26582" y="262179"/>
                  </a:lnTo>
                  <a:lnTo>
                    <a:pt x="61163" y="282523"/>
                  </a:lnTo>
                  <a:lnTo>
                    <a:pt x="111137" y="288807"/>
                  </a:lnTo>
                  <a:lnTo>
                    <a:pt x="162919" y="281285"/>
                  </a:lnTo>
                  <a:lnTo>
                    <a:pt x="197719" y="258621"/>
                  </a:lnTo>
                  <a:lnTo>
                    <a:pt x="199605" y="254966"/>
                  </a:lnTo>
                  <a:lnTo>
                    <a:pt x="111137" y="254966"/>
                  </a:lnTo>
                  <a:lnTo>
                    <a:pt x="77840" y="250140"/>
                  </a:lnTo>
                  <a:lnTo>
                    <a:pt x="55571" y="235401"/>
                  </a:lnTo>
                  <a:lnTo>
                    <a:pt x="43106" y="210350"/>
                  </a:lnTo>
                  <a:lnTo>
                    <a:pt x="39223" y="174591"/>
                  </a:lnTo>
                  <a:lnTo>
                    <a:pt x="39223" y="4994"/>
                  </a:lnTo>
                  <a:close/>
                </a:path>
                <a:path w="1243330" h="288925">
                  <a:moveTo>
                    <a:pt x="223438" y="4994"/>
                  </a:moveTo>
                  <a:lnTo>
                    <a:pt x="184214" y="4994"/>
                  </a:lnTo>
                  <a:lnTo>
                    <a:pt x="184214" y="170361"/>
                  </a:lnTo>
                  <a:lnTo>
                    <a:pt x="180314" y="206781"/>
                  </a:lnTo>
                  <a:lnTo>
                    <a:pt x="167725" y="233286"/>
                  </a:lnTo>
                  <a:lnTo>
                    <a:pt x="145111" y="249479"/>
                  </a:lnTo>
                  <a:lnTo>
                    <a:pt x="111137" y="254966"/>
                  </a:lnTo>
                  <a:lnTo>
                    <a:pt x="199605" y="254966"/>
                  </a:lnTo>
                  <a:lnTo>
                    <a:pt x="217302" y="220669"/>
                  </a:lnTo>
                  <a:lnTo>
                    <a:pt x="223438" y="167282"/>
                  </a:lnTo>
                  <a:lnTo>
                    <a:pt x="223438" y="4994"/>
                  </a:lnTo>
                  <a:close/>
                </a:path>
                <a:path w="1243330" h="288925">
                  <a:moveTo>
                    <a:pt x="313037" y="4994"/>
                  </a:moveTo>
                  <a:lnTo>
                    <a:pt x="273813" y="4994"/>
                  </a:lnTo>
                  <a:lnTo>
                    <a:pt x="273813" y="283802"/>
                  </a:lnTo>
                  <a:lnTo>
                    <a:pt x="313037" y="283802"/>
                  </a:lnTo>
                  <a:lnTo>
                    <a:pt x="313037" y="196130"/>
                  </a:lnTo>
                  <a:lnTo>
                    <a:pt x="356879" y="147670"/>
                  </a:lnTo>
                  <a:lnTo>
                    <a:pt x="403714" y="147670"/>
                  </a:lnTo>
                  <a:lnTo>
                    <a:pt x="402092" y="145367"/>
                  </a:lnTo>
                  <a:lnTo>
                    <a:pt x="313037" y="145367"/>
                  </a:lnTo>
                  <a:lnTo>
                    <a:pt x="313037" y="4994"/>
                  </a:lnTo>
                  <a:close/>
                </a:path>
                <a:path w="1243330" h="288925">
                  <a:moveTo>
                    <a:pt x="403714" y="147670"/>
                  </a:moveTo>
                  <a:lnTo>
                    <a:pt x="356879" y="147670"/>
                  </a:lnTo>
                  <a:lnTo>
                    <a:pt x="452635" y="283802"/>
                  </a:lnTo>
                  <a:lnTo>
                    <a:pt x="499555" y="283802"/>
                  </a:lnTo>
                  <a:lnTo>
                    <a:pt x="403714" y="147670"/>
                  </a:lnTo>
                  <a:close/>
                </a:path>
                <a:path w="1243330" h="288925">
                  <a:moveTo>
                    <a:pt x="487639" y="4994"/>
                  </a:moveTo>
                  <a:lnTo>
                    <a:pt x="438792" y="4994"/>
                  </a:lnTo>
                  <a:lnTo>
                    <a:pt x="313037" y="145367"/>
                  </a:lnTo>
                  <a:lnTo>
                    <a:pt x="402092" y="145367"/>
                  </a:lnTo>
                  <a:lnTo>
                    <a:pt x="383412" y="118834"/>
                  </a:lnTo>
                  <a:lnTo>
                    <a:pt x="487639" y="4994"/>
                  </a:lnTo>
                  <a:close/>
                </a:path>
                <a:path w="1243330" h="288925">
                  <a:moveTo>
                    <a:pt x="630692" y="0"/>
                  </a:moveTo>
                  <a:lnTo>
                    <a:pt x="587086" y="6688"/>
                  </a:lnTo>
                  <a:lnTo>
                    <a:pt x="551180" y="25818"/>
                  </a:lnTo>
                  <a:lnTo>
                    <a:pt x="524117" y="55986"/>
                  </a:lnTo>
                  <a:lnTo>
                    <a:pt x="507040" y="95790"/>
                  </a:lnTo>
                  <a:lnTo>
                    <a:pt x="501094" y="143828"/>
                  </a:lnTo>
                  <a:lnTo>
                    <a:pt x="506546" y="191167"/>
                  </a:lnTo>
                  <a:lnTo>
                    <a:pt x="506572" y="191394"/>
                  </a:lnTo>
                  <a:lnTo>
                    <a:pt x="522590" y="231410"/>
                  </a:lnTo>
                  <a:lnTo>
                    <a:pt x="548520" y="262141"/>
                  </a:lnTo>
                  <a:lnTo>
                    <a:pt x="583737" y="281852"/>
                  </a:lnTo>
                  <a:lnTo>
                    <a:pt x="627614" y="288807"/>
                  </a:lnTo>
                  <a:lnTo>
                    <a:pt x="670222" y="282799"/>
                  </a:lnTo>
                  <a:lnTo>
                    <a:pt x="706016" y="264965"/>
                  </a:lnTo>
                  <a:lnTo>
                    <a:pt x="714428" y="255740"/>
                  </a:lnTo>
                  <a:lnTo>
                    <a:pt x="629917" y="255740"/>
                  </a:lnTo>
                  <a:lnTo>
                    <a:pt x="594136" y="248205"/>
                  </a:lnTo>
                  <a:lnTo>
                    <a:pt x="566032" y="226320"/>
                  </a:lnTo>
                  <a:lnTo>
                    <a:pt x="547781" y="191394"/>
                  </a:lnTo>
                  <a:lnTo>
                    <a:pt x="547662" y="191167"/>
                  </a:lnTo>
                  <a:lnTo>
                    <a:pt x="541083" y="143828"/>
                  </a:lnTo>
                  <a:lnTo>
                    <a:pt x="547861" y="96019"/>
                  </a:lnTo>
                  <a:lnTo>
                    <a:pt x="566465" y="61334"/>
                  </a:lnTo>
                  <a:lnTo>
                    <a:pt x="594299" y="40206"/>
                  </a:lnTo>
                  <a:lnTo>
                    <a:pt x="628766" y="33067"/>
                  </a:lnTo>
                  <a:lnTo>
                    <a:pt x="713229" y="33067"/>
                  </a:lnTo>
                  <a:lnTo>
                    <a:pt x="705776" y="24564"/>
                  </a:lnTo>
                  <a:lnTo>
                    <a:pt x="671443" y="6279"/>
                  </a:lnTo>
                  <a:lnTo>
                    <a:pt x="630692" y="0"/>
                  </a:lnTo>
                  <a:close/>
                </a:path>
                <a:path w="1243330" h="288925">
                  <a:moveTo>
                    <a:pt x="748364" y="194978"/>
                  </a:moveTo>
                  <a:lnTo>
                    <a:pt x="710292" y="194978"/>
                  </a:lnTo>
                  <a:lnTo>
                    <a:pt x="700279" y="219557"/>
                  </a:lnTo>
                  <a:lnTo>
                    <a:pt x="683522" y="238768"/>
                  </a:lnTo>
                  <a:lnTo>
                    <a:pt x="660056" y="251275"/>
                  </a:lnTo>
                  <a:lnTo>
                    <a:pt x="629917" y="255740"/>
                  </a:lnTo>
                  <a:lnTo>
                    <a:pt x="714428" y="255740"/>
                  </a:lnTo>
                  <a:lnTo>
                    <a:pt x="732797" y="235595"/>
                  </a:lnTo>
                  <a:lnTo>
                    <a:pt x="748364" y="194978"/>
                  </a:lnTo>
                  <a:close/>
                </a:path>
                <a:path w="1243330" h="288925">
                  <a:moveTo>
                    <a:pt x="713229" y="33067"/>
                  </a:moveTo>
                  <a:lnTo>
                    <a:pt x="628766" y="33067"/>
                  </a:lnTo>
                  <a:lnTo>
                    <a:pt x="658788" y="37640"/>
                  </a:lnTo>
                  <a:lnTo>
                    <a:pt x="682318" y="50325"/>
                  </a:lnTo>
                  <a:lnTo>
                    <a:pt x="699069" y="69572"/>
                  </a:lnTo>
                  <a:lnTo>
                    <a:pt x="708753" y="93829"/>
                  </a:lnTo>
                  <a:lnTo>
                    <a:pt x="746825" y="93829"/>
                  </a:lnTo>
                  <a:lnTo>
                    <a:pt x="731601" y="54024"/>
                  </a:lnTo>
                  <a:lnTo>
                    <a:pt x="713229" y="33067"/>
                  </a:lnTo>
                  <a:close/>
                </a:path>
                <a:path w="1243330" h="288925">
                  <a:moveTo>
                    <a:pt x="975268" y="4994"/>
                  </a:moveTo>
                  <a:lnTo>
                    <a:pt x="786059" y="4994"/>
                  </a:lnTo>
                  <a:lnTo>
                    <a:pt x="786059" y="283802"/>
                  </a:lnTo>
                  <a:lnTo>
                    <a:pt x="975268" y="283802"/>
                  </a:lnTo>
                  <a:lnTo>
                    <a:pt x="975268" y="249971"/>
                  </a:lnTo>
                  <a:lnTo>
                    <a:pt x="825283" y="249971"/>
                  </a:lnTo>
                  <a:lnTo>
                    <a:pt x="825283" y="157283"/>
                  </a:lnTo>
                  <a:lnTo>
                    <a:pt x="966420" y="157283"/>
                  </a:lnTo>
                  <a:lnTo>
                    <a:pt x="966420" y="123441"/>
                  </a:lnTo>
                  <a:lnTo>
                    <a:pt x="825283" y="123441"/>
                  </a:lnTo>
                  <a:lnTo>
                    <a:pt x="825283" y="38836"/>
                  </a:lnTo>
                  <a:lnTo>
                    <a:pt x="975268" y="38836"/>
                  </a:lnTo>
                  <a:lnTo>
                    <a:pt x="975268" y="4994"/>
                  </a:lnTo>
                  <a:close/>
                </a:path>
                <a:path w="1243330" h="288925">
                  <a:moveTo>
                    <a:pt x="1057171" y="4994"/>
                  </a:moveTo>
                  <a:lnTo>
                    <a:pt x="1017948" y="4994"/>
                  </a:lnTo>
                  <a:lnTo>
                    <a:pt x="1017948" y="283802"/>
                  </a:lnTo>
                  <a:lnTo>
                    <a:pt x="1057171" y="283802"/>
                  </a:lnTo>
                  <a:lnTo>
                    <a:pt x="1057171" y="157283"/>
                  </a:lnTo>
                  <a:lnTo>
                    <a:pt x="1242925" y="157283"/>
                  </a:lnTo>
                  <a:lnTo>
                    <a:pt x="1242925" y="123441"/>
                  </a:lnTo>
                  <a:lnTo>
                    <a:pt x="1057171" y="123441"/>
                  </a:lnTo>
                  <a:lnTo>
                    <a:pt x="1057171" y="4994"/>
                  </a:lnTo>
                  <a:close/>
                </a:path>
                <a:path w="1243330" h="288925">
                  <a:moveTo>
                    <a:pt x="1242925" y="157283"/>
                  </a:moveTo>
                  <a:lnTo>
                    <a:pt x="1203701" y="157283"/>
                  </a:lnTo>
                  <a:lnTo>
                    <a:pt x="1203701" y="283802"/>
                  </a:lnTo>
                  <a:lnTo>
                    <a:pt x="1242925" y="283802"/>
                  </a:lnTo>
                  <a:lnTo>
                    <a:pt x="1242925" y="157283"/>
                  </a:lnTo>
                  <a:close/>
                </a:path>
                <a:path w="1243330" h="288925">
                  <a:moveTo>
                    <a:pt x="1242925" y="4994"/>
                  </a:moveTo>
                  <a:lnTo>
                    <a:pt x="1203701" y="4994"/>
                  </a:lnTo>
                  <a:lnTo>
                    <a:pt x="1203701" y="123441"/>
                  </a:lnTo>
                  <a:lnTo>
                    <a:pt x="1242925" y="123441"/>
                  </a:lnTo>
                  <a:lnTo>
                    <a:pt x="1242925" y="4994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9">
              <a:extLst>
                <a:ext uri="{FF2B5EF4-FFF2-40B4-BE49-F238E27FC236}">
                  <a16:creationId xmlns:a16="http://schemas.microsoft.com/office/drawing/2014/main" id="{CE2579DF-0B30-705B-C8FD-25AF551B5F6A}"/>
                </a:ext>
              </a:extLst>
            </p:cNvPr>
            <p:cNvSpPr/>
            <p:nvPr userDrawn="1"/>
          </p:nvSpPr>
          <p:spPr>
            <a:xfrm>
              <a:off x="143595" y="135785"/>
              <a:ext cx="288028" cy="288028"/>
            </a:xfrm>
            <a:custGeom>
              <a:avLst/>
              <a:gdLst/>
              <a:ahLst/>
              <a:cxnLst/>
              <a:rect l="l" t="t" r="r" b="b"/>
              <a:pathLst>
                <a:path w="474980" h="474980">
                  <a:moveTo>
                    <a:pt x="62826" y="237299"/>
                  </a:moveTo>
                  <a:lnTo>
                    <a:pt x="60350" y="225069"/>
                  </a:lnTo>
                  <a:lnTo>
                    <a:pt x="53619" y="215087"/>
                  </a:lnTo>
                  <a:lnTo>
                    <a:pt x="43637" y="208356"/>
                  </a:lnTo>
                  <a:lnTo>
                    <a:pt x="31407" y="205879"/>
                  </a:lnTo>
                  <a:lnTo>
                    <a:pt x="19177" y="208356"/>
                  </a:lnTo>
                  <a:lnTo>
                    <a:pt x="9194" y="215087"/>
                  </a:lnTo>
                  <a:lnTo>
                    <a:pt x="2463" y="225069"/>
                  </a:lnTo>
                  <a:lnTo>
                    <a:pt x="0" y="237299"/>
                  </a:lnTo>
                  <a:lnTo>
                    <a:pt x="2463" y="249516"/>
                  </a:lnTo>
                  <a:lnTo>
                    <a:pt x="9194" y="259499"/>
                  </a:lnTo>
                  <a:lnTo>
                    <a:pt x="19177" y="266230"/>
                  </a:lnTo>
                  <a:lnTo>
                    <a:pt x="31407" y="268693"/>
                  </a:lnTo>
                  <a:lnTo>
                    <a:pt x="43637" y="266230"/>
                  </a:lnTo>
                  <a:lnTo>
                    <a:pt x="53619" y="259499"/>
                  </a:lnTo>
                  <a:lnTo>
                    <a:pt x="60350" y="249516"/>
                  </a:lnTo>
                  <a:lnTo>
                    <a:pt x="62826" y="237299"/>
                  </a:lnTo>
                  <a:close/>
                </a:path>
                <a:path w="474980" h="474980">
                  <a:moveTo>
                    <a:pt x="90170" y="336346"/>
                  </a:moveTo>
                  <a:lnTo>
                    <a:pt x="86194" y="324523"/>
                  </a:lnTo>
                  <a:lnTo>
                    <a:pt x="77939" y="315175"/>
                  </a:lnTo>
                  <a:lnTo>
                    <a:pt x="67119" y="309892"/>
                  </a:lnTo>
                  <a:lnTo>
                    <a:pt x="55118" y="309054"/>
                  </a:lnTo>
                  <a:lnTo>
                    <a:pt x="43294" y="313029"/>
                  </a:lnTo>
                  <a:lnTo>
                    <a:pt x="33934" y="321284"/>
                  </a:lnTo>
                  <a:lnTo>
                    <a:pt x="28651" y="332105"/>
                  </a:lnTo>
                  <a:lnTo>
                    <a:pt x="27813" y="344106"/>
                  </a:lnTo>
                  <a:lnTo>
                    <a:pt x="31788" y="355930"/>
                  </a:lnTo>
                  <a:lnTo>
                    <a:pt x="40043" y="365290"/>
                  </a:lnTo>
                  <a:lnTo>
                    <a:pt x="50863" y="370560"/>
                  </a:lnTo>
                  <a:lnTo>
                    <a:pt x="62877" y="371398"/>
                  </a:lnTo>
                  <a:lnTo>
                    <a:pt x="74701" y="367423"/>
                  </a:lnTo>
                  <a:lnTo>
                    <a:pt x="84048" y="359181"/>
                  </a:lnTo>
                  <a:lnTo>
                    <a:pt x="89331" y="348361"/>
                  </a:lnTo>
                  <a:lnTo>
                    <a:pt x="90170" y="336346"/>
                  </a:lnTo>
                  <a:close/>
                </a:path>
                <a:path w="474980" h="474980">
                  <a:moveTo>
                    <a:pt x="90170" y="138239"/>
                  </a:moveTo>
                  <a:lnTo>
                    <a:pt x="89331" y="126225"/>
                  </a:lnTo>
                  <a:lnTo>
                    <a:pt x="84048" y="115404"/>
                  </a:lnTo>
                  <a:lnTo>
                    <a:pt x="74701" y="107149"/>
                  </a:lnTo>
                  <a:lnTo>
                    <a:pt x="62877" y="103174"/>
                  </a:lnTo>
                  <a:lnTo>
                    <a:pt x="50863" y="104013"/>
                  </a:lnTo>
                  <a:lnTo>
                    <a:pt x="40043" y="109296"/>
                  </a:lnTo>
                  <a:lnTo>
                    <a:pt x="31800" y="118656"/>
                  </a:lnTo>
                  <a:lnTo>
                    <a:pt x="27813" y="130479"/>
                  </a:lnTo>
                  <a:lnTo>
                    <a:pt x="28651" y="142481"/>
                  </a:lnTo>
                  <a:lnTo>
                    <a:pt x="33934" y="153301"/>
                  </a:lnTo>
                  <a:lnTo>
                    <a:pt x="43281" y="161556"/>
                  </a:lnTo>
                  <a:lnTo>
                    <a:pt x="55105" y="165519"/>
                  </a:lnTo>
                  <a:lnTo>
                    <a:pt x="67119" y="164693"/>
                  </a:lnTo>
                  <a:lnTo>
                    <a:pt x="77939" y="159410"/>
                  </a:lnTo>
                  <a:lnTo>
                    <a:pt x="86194" y="150050"/>
                  </a:lnTo>
                  <a:lnTo>
                    <a:pt x="90170" y="138239"/>
                  </a:lnTo>
                  <a:close/>
                </a:path>
                <a:path w="474980" h="474980">
                  <a:moveTo>
                    <a:pt x="141947" y="237286"/>
                  </a:moveTo>
                  <a:lnTo>
                    <a:pt x="140106" y="228117"/>
                  </a:lnTo>
                  <a:lnTo>
                    <a:pt x="135051" y="220637"/>
                  </a:lnTo>
                  <a:lnTo>
                    <a:pt x="127571" y="215582"/>
                  </a:lnTo>
                  <a:lnTo>
                    <a:pt x="118402" y="213741"/>
                  </a:lnTo>
                  <a:lnTo>
                    <a:pt x="109232" y="215582"/>
                  </a:lnTo>
                  <a:lnTo>
                    <a:pt x="101752" y="220637"/>
                  </a:lnTo>
                  <a:lnTo>
                    <a:pt x="96697" y="228117"/>
                  </a:lnTo>
                  <a:lnTo>
                    <a:pt x="94856" y="237286"/>
                  </a:lnTo>
                  <a:lnTo>
                    <a:pt x="96697" y="246456"/>
                  </a:lnTo>
                  <a:lnTo>
                    <a:pt x="101752" y="253949"/>
                  </a:lnTo>
                  <a:lnTo>
                    <a:pt x="109232" y="258991"/>
                  </a:lnTo>
                  <a:lnTo>
                    <a:pt x="118402" y="260845"/>
                  </a:lnTo>
                  <a:lnTo>
                    <a:pt x="127571" y="258991"/>
                  </a:lnTo>
                  <a:lnTo>
                    <a:pt x="135051" y="253949"/>
                  </a:lnTo>
                  <a:lnTo>
                    <a:pt x="140106" y="246456"/>
                  </a:lnTo>
                  <a:lnTo>
                    <a:pt x="141947" y="237286"/>
                  </a:lnTo>
                  <a:close/>
                </a:path>
                <a:path w="474980" h="474980">
                  <a:moveTo>
                    <a:pt x="165519" y="419468"/>
                  </a:moveTo>
                  <a:lnTo>
                    <a:pt x="164680" y="407454"/>
                  </a:lnTo>
                  <a:lnTo>
                    <a:pt x="159397" y="396633"/>
                  </a:lnTo>
                  <a:lnTo>
                    <a:pt x="150050" y="388378"/>
                  </a:lnTo>
                  <a:lnTo>
                    <a:pt x="138226" y="384403"/>
                  </a:lnTo>
                  <a:lnTo>
                    <a:pt x="126212" y="385241"/>
                  </a:lnTo>
                  <a:lnTo>
                    <a:pt x="115392" y="390525"/>
                  </a:lnTo>
                  <a:lnTo>
                    <a:pt x="107149" y="399884"/>
                  </a:lnTo>
                  <a:lnTo>
                    <a:pt x="103174" y="411708"/>
                  </a:lnTo>
                  <a:lnTo>
                    <a:pt x="104013" y="423710"/>
                  </a:lnTo>
                  <a:lnTo>
                    <a:pt x="109296" y="434530"/>
                  </a:lnTo>
                  <a:lnTo>
                    <a:pt x="118643" y="442785"/>
                  </a:lnTo>
                  <a:lnTo>
                    <a:pt x="130467" y="446760"/>
                  </a:lnTo>
                  <a:lnTo>
                    <a:pt x="142481" y="445922"/>
                  </a:lnTo>
                  <a:lnTo>
                    <a:pt x="153301" y="440639"/>
                  </a:lnTo>
                  <a:lnTo>
                    <a:pt x="161544" y="431292"/>
                  </a:lnTo>
                  <a:lnTo>
                    <a:pt x="165519" y="419468"/>
                  </a:lnTo>
                  <a:close/>
                </a:path>
                <a:path w="474980" h="474980">
                  <a:moveTo>
                    <a:pt x="165519" y="55118"/>
                  </a:moveTo>
                  <a:lnTo>
                    <a:pt x="161544" y="43294"/>
                  </a:lnTo>
                  <a:lnTo>
                    <a:pt x="153301" y="33947"/>
                  </a:lnTo>
                  <a:lnTo>
                    <a:pt x="142481" y="28663"/>
                  </a:lnTo>
                  <a:lnTo>
                    <a:pt x="130467" y="27825"/>
                  </a:lnTo>
                  <a:lnTo>
                    <a:pt x="118643" y="31800"/>
                  </a:lnTo>
                  <a:lnTo>
                    <a:pt x="109296" y="40043"/>
                  </a:lnTo>
                  <a:lnTo>
                    <a:pt x="104013" y="50876"/>
                  </a:lnTo>
                  <a:lnTo>
                    <a:pt x="103174" y="62890"/>
                  </a:lnTo>
                  <a:lnTo>
                    <a:pt x="107149" y="74714"/>
                  </a:lnTo>
                  <a:lnTo>
                    <a:pt x="115404" y="84061"/>
                  </a:lnTo>
                  <a:lnTo>
                    <a:pt x="126212" y="89331"/>
                  </a:lnTo>
                  <a:lnTo>
                    <a:pt x="138226" y="90170"/>
                  </a:lnTo>
                  <a:lnTo>
                    <a:pt x="150050" y="86194"/>
                  </a:lnTo>
                  <a:lnTo>
                    <a:pt x="159410" y="77952"/>
                  </a:lnTo>
                  <a:lnTo>
                    <a:pt x="164680" y="67132"/>
                  </a:lnTo>
                  <a:lnTo>
                    <a:pt x="165519" y="55118"/>
                  </a:lnTo>
                  <a:close/>
                </a:path>
                <a:path w="474980" h="474980">
                  <a:moveTo>
                    <a:pt x="176771" y="321348"/>
                  </a:moveTo>
                  <a:lnTo>
                    <a:pt x="175056" y="312483"/>
                  </a:lnTo>
                  <a:lnTo>
                    <a:pt x="169875" y="304698"/>
                  </a:lnTo>
                  <a:lnTo>
                    <a:pt x="162077" y="299529"/>
                  </a:lnTo>
                  <a:lnTo>
                    <a:pt x="153225" y="297802"/>
                  </a:lnTo>
                  <a:lnTo>
                    <a:pt x="144360" y="299529"/>
                  </a:lnTo>
                  <a:lnTo>
                    <a:pt x="136563" y="304698"/>
                  </a:lnTo>
                  <a:lnTo>
                    <a:pt x="131394" y="312483"/>
                  </a:lnTo>
                  <a:lnTo>
                    <a:pt x="129667" y="321348"/>
                  </a:lnTo>
                  <a:lnTo>
                    <a:pt x="131394" y="330212"/>
                  </a:lnTo>
                  <a:lnTo>
                    <a:pt x="136563" y="338010"/>
                  </a:lnTo>
                  <a:lnTo>
                    <a:pt x="144360" y="343179"/>
                  </a:lnTo>
                  <a:lnTo>
                    <a:pt x="153225" y="344906"/>
                  </a:lnTo>
                  <a:lnTo>
                    <a:pt x="162077" y="343179"/>
                  </a:lnTo>
                  <a:lnTo>
                    <a:pt x="169875" y="338010"/>
                  </a:lnTo>
                  <a:lnTo>
                    <a:pt x="175056" y="330212"/>
                  </a:lnTo>
                  <a:lnTo>
                    <a:pt x="176771" y="321348"/>
                  </a:lnTo>
                  <a:close/>
                </a:path>
                <a:path w="474980" h="474980">
                  <a:moveTo>
                    <a:pt x="176784" y="153225"/>
                  </a:moveTo>
                  <a:lnTo>
                    <a:pt x="175056" y="144360"/>
                  </a:lnTo>
                  <a:lnTo>
                    <a:pt x="169875" y="136575"/>
                  </a:lnTo>
                  <a:lnTo>
                    <a:pt x="162090" y="131394"/>
                  </a:lnTo>
                  <a:lnTo>
                    <a:pt x="153225" y="129679"/>
                  </a:lnTo>
                  <a:lnTo>
                    <a:pt x="144360" y="131394"/>
                  </a:lnTo>
                  <a:lnTo>
                    <a:pt x="136575" y="136575"/>
                  </a:lnTo>
                  <a:lnTo>
                    <a:pt x="131394" y="144360"/>
                  </a:lnTo>
                  <a:lnTo>
                    <a:pt x="129667" y="153225"/>
                  </a:lnTo>
                  <a:lnTo>
                    <a:pt x="131394" y="162090"/>
                  </a:lnTo>
                  <a:lnTo>
                    <a:pt x="136575" y="169875"/>
                  </a:lnTo>
                  <a:lnTo>
                    <a:pt x="144360" y="175056"/>
                  </a:lnTo>
                  <a:lnTo>
                    <a:pt x="153225" y="176784"/>
                  </a:lnTo>
                  <a:lnTo>
                    <a:pt x="162090" y="175056"/>
                  </a:lnTo>
                  <a:lnTo>
                    <a:pt x="169875" y="169875"/>
                  </a:lnTo>
                  <a:lnTo>
                    <a:pt x="175056" y="162090"/>
                  </a:lnTo>
                  <a:lnTo>
                    <a:pt x="176784" y="153225"/>
                  </a:lnTo>
                  <a:close/>
                </a:path>
                <a:path w="474980" h="474980">
                  <a:moveTo>
                    <a:pt x="209016" y="261874"/>
                  </a:moveTo>
                  <a:lnTo>
                    <a:pt x="201853" y="249478"/>
                  </a:lnTo>
                  <a:lnTo>
                    <a:pt x="193941" y="247357"/>
                  </a:lnTo>
                  <a:lnTo>
                    <a:pt x="187744" y="250939"/>
                  </a:lnTo>
                  <a:lnTo>
                    <a:pt x="181546" y="254520"/>
                  </a:lnTo>
                  <a:lnTo>
                    <a:pt x="179412" y="262432"/>
                  </a:lnTo>
                  <a:lnTo>
                    <a:pt x="186575" y="274828"/>
                  </a:lnTo>
                  <a:lnTo>
                    <a:pt x="194500" y="276961"/>
                  </a:lnTo>
                  <a:lnTo>
                    <a:pt x="206895" y="269798"/>
                  </a:lnTo>
                  <a:lnTo>
                    <a:pt x="209016" y="261874"/>
                  </a:lnTo>
                  <a:close/>
                </a:path>
                <a:path w="474980" h="474980">
                  <a:moveTo>
                    <a:pt x="209016" y="212699"/>
                  </a:moveTo>
                  <a:lnTo>
                    <a:pt x="206895" y="204787"/>
                  </a:lnTo>
                  <a:lnTo>
                    <a:pt x="200698" y="201206"/>
                  </a:lnTo>
                  <a:lnTo>
                    <a:pt x="194500" y="197624"/>
                  </a:lnTo>
                  <a:lnTo>
                    <a:pt x="186575" y="199745"/>
                  </a:lnTo>
                  <a:lnTo>
                    <a:pt x="179425" y="212153"/>
                  </a:lnTo>
                  <a:lnTo>
                    <a:pt x="181546" y="220078"/>
                  </a:lnTo>
                  <a:lnTo>
                    <a:pt x="193941" y="227228"/>
                  </a:lnTo>
                  <a:lnTo>
                    <a:pt x="201853" y="225107"/>
                  </a:lnTo>
                  <a:lnTo>
                    <a:pt x="209016" y="212699"/>
                  </a:lnTo>
                  <a:close/>
                </a:path>
                <a:path w="474980" h="474980">
                  <a:moveTo>
                    <a:pt x="250240" y="279869"/>
                  </a:moveTo>
                  <a:lnTo>
                    <a:pt x="244449" y="274066"/>
                  </a:lnTo>
                  <a:lnTo>
                    <a:pt x="230136" y="274066"/>
                  </a:lnTo>
                  <a:lnTo>
                    <a:pt x="224332" y="279869"/>
                  </a:lnTo>
                  <a:lnTo>
                    <a:pt x="224332" y="287020"/>
                  </a:lnTo>
                  <a:lnTo>
                    <a:pt x="224332" y="294170"/>
                  </a:lnTo>
                  <a:lnTo>
                    <a:pt x="230136" y="299974"/>
                  </a:lnTo>
                  <a:lnTo>
                    <a:pt x="244449" y="299974"/>
                  </a:lnTo>
                  <a:lnTo>
                    <a:pt x="250240" y="294170"/>
                  </a:lnTo>
                  <a:lnTo>
                    <a:pt x="250240" y="279869"/>
                  </a:lnTo>
                  <a:close/>
                </a:path>
                <a:path w="474980" h="474980">
                  <a:moveTo>
                    <a:pt x="250240" y="180416"/>
                  </a:moveTo>
                  <a:lnTo>
                    <a:pt x="244436" y="174612"/>
                  </a:lnTo>
                  <a:lnTo>
                    <a:pt x="230124" y="174612"/>
                  </a:lnTo>
                  <a:lnTo>
                    <a:pt x="224332" y="180416"/>
                  </a:lnTo>
                  <a:lnTo>
                    <a:pt x="224332" y="194716"/>
                  </a:lnTo>
                  <a:lnTo>
                    <a:pt x="230124" y="200520"/>
                  </a:lnTo>
                  <a:lnTo>
                    <a:pt x="244436" y="200520"/>
                  </a:lnTo>
                  <a:lnTo>
                    <a:pt x="250240" y="194716"/>
                  </a:lnTo>
                  <a:lnTo>
                    <a:pt x="250240" y="187566"/>
                  </a:lnTo>
                  <a:lnTo>
                    <a:pt x="250240" y="180416"/>
                  </a:lnTo>
                  <a:close/>
                </a:path>
                <a:path w="474980" h="474980">
                  <a:moveTo>
                    <a:pt x="260832" y="356171"/>
                  </a:moveTo>
                  <a:lnTo>
                    <a:pt x="258991" y="347002"/>
                  </a:lnTo>
                  <a:lnTo>
                    <a:pt x="253936" y="339521"/>
                  </a:lnTo>
                  <a:lnTo>
                    <a:pt x="246456" y="334479"/>
                  </a:lnTo>
                  <a:lnTo>
                    <a:pt x="237274" y="332625"/>
                  </a:lnTo>
                  <a:lnTo>
                    <a:pt x="228117" y="334479"/>
                  </a:lnTo>
                  <a:lnTo>
                    <a:pt x="220624" y="339521"/>
                  </a:lnTo>
                  <a:lnTo>
                    <a:pt x="215582" y="347002"/>
                  </a:lnTo>
                  <a:lnTo>
                    <a:pt x="213728" y="356171"/>
                  </a:lnTo>
                  <a:lnTo>
                    <a:pt x="215582" y="365340"/>
                  </a:lnTo>
                  <a:lnTo>
                    <a:pt x="220624" y="372833"/>
                  </a:lnTo>
                  <a:lnTo>
                    <a:pt x="228117" y="377875"/>
                  </a:lnTo>
                  <a:lnTo>
                    <a:pt x="237274" y="379717"/>
                  </a:lnTo>
                  <a:lnTo>
                    <a:pt x="246456" y="377875"/>
                  </a:lnTo>
                  <a:lnTo>
                    <a:pt x="253936" y="372833"/>
                  </a:lnTo>
                  <a:lnTo>
                    <a:pt x="258991" y="365340"/>
                  </a:lnTo>
                  <a:lnTo>
                    <a:pt x="260832" y="356171"/>
                  </a:lnTo>
                  <a:close/>
                </a:path>
                <a:path w="474980" h="474980">
                  <a:moveTo>
                    <a:pt x="260845" y="118402"/>
                  </a:moveTo>
                  <a:lnTo>
                    <a:pt x="258991" y="109245"/>
                  </a:lnTo>
                  <a:lnTo>
                    <a:pt x="253936" y="101752"/>
                  </a:lnTo>
                  <a:lnTo>
                    <a:pt x="246456" y="96710"/>
                  </a:lnTo>
                  <a:lnTo>
                    <a:pt x="237286" y="94856"/>
                  </a:lnTo>
                  <a:lnTo>
                    <a:pt x="228117" y="96710"/>
                  </a:lnTo>
                  <a:lnTo>
                    <a:pt x="220637" y="101752"/>
                  </a:lnTo>
                  <a:lnTo>
                    <a:pt x="215582" y="109245"/>
                  </a:lnTo>
                  <a:lnTo>
                    <a:pt x="213728" y="118402"/>
                  </a:lnTo>
                  <a:lnTo>
                    <a:pt x="215582" y="127584"/>
                  </a:lnTo>
                  <a:lnTo>
                    <a:pt x="220637" y="135064"/>
                  </a:lnTo>
                  <a:lnTo>
                    <a:pt x="228117" y="140119"/>
                  </a:lnTo>
                  <a:lnTo>
                    <a:pt x="237286" y="141960"/>
                  </a:lnTo>
                  <a:lnTo>
                    <a:pt x="246456" y="140119"/>
                  </a:lnTo>
                  <a:lnTo>
                    <a:pt x="253936" y="135064"/>
                  </a:lnTo>
                  <a:lnTo>
                    <a:pt x="258991" y="127584"/>
                  </a:lnTo>
                  <a:lnTo>
                    <a:pt x="260845" y="118402"/>
                  </a:lnTo>
                  <a:close/>
                </a:path>
                <a:path w="474980" h="474980">
                  <a:moveTo>
                    <a:pt x="268693" y="443166"/>
                  </a:moveTo>
                  <a:lnTo>
                    <a:pt x="266230" y="430936"/>
                  </a:lnTo>
                  <a:lnTo>
                    <a:pt x="259499" y="420954"/>
                  </a:lnTo>
                  <a:lnTo>
                    <a:pt x="249516" y="414223"/>
                  </a:lnTo>
                  <a:lnTo>
                    <a:pt x="237286" y="411746"/>
                  </a:lnTo>
                  <a:lnTo>
                    <a:pt x="225069" y="414223"/>
                  </a:lnTo>
                  <a:lnTo>
                    <a:pt x="215074" y="420954"/>
                  </a:lnTo>
                  <a:lnTo>
                    <a:pt x="208343" y="430936"/>
                  </a:lnTo>
                  <a:lnTo>
                    <a:pt x="205879" y="443166"/>
                  </a:lnTo>
                  <a:lnTo>
                    <a:pt x="208343" y="455396"/>
                  </a:lnTo>
                  <a:lnTo>
                    <a:pt x="215074" y="465378"/>
                  </a:lnTo>
                  <a:lnTo>
                    <a:pt x="225069" y="472109"/>
                  </a:lnTo>
                  <a:lnTo>
                    <a:pt x="237286" y="474573"/>
                  </a:lnTo>
                  <a:lnTo>
                    <a:pt x="249516" y="472109"/>
                  </a:lnTo>
                  <a:lnTo>
                    <a:pt x="259499" y="465378"/>
                  </a:lnTo>
                  <a:lnTo>
                    <a:pt x="266230" y="455396"/>
                  </a:lnTo>
                  <a:lnTo>
                    <a:pt x="268693" y="443166"/>
                  </a:lnTo>
                  <a:close/>
                </a:path>
                <a:path w="474980" h="474980">
                  <a:moveTo>
                    <a:pt x="268693" y="31419"/>
                  </a:moveTo>
                  <a:lnTo>
                    <a:pt x="266230" y="19189"/>
                  </a:lnTo>
                  <a:lnTo>
                    <a:pt x="259486" y="9207"/>
                  </a:lnTo>
                  <a:lnTo>
                    <a:pt x="249504" y="2476"/>
                  </a:lnTo>
                  <a:lnTo>
                    <a:pt x="237274" y="0"/>
                  </a:lnTo>
                  <a:lnTo>
                    <a:pt x="225056" y="2476"/>
                  </a:lnTo>
                  <a:lnTo>
                    <a:pt x="215074" y="9207"/>
                  </a:lnTo>
                  <a:lnTo>
                    <a:pt x="208343" y="19189"/>
                  </a:lnTo>
                  <a:lnTo>
                    <a:pt x="205879" y="31419"/>
                  </a:lnTo>
                  <a:lnTo>
                    <a:pt x="208343" y="43649"/>
                  </a:lnTo>
                  <a:lnTo>
                    <a:pt x="215074" y="53632"/>
                  </a:lnTo>
                  <a:lnTo>
                    <a:pt x="225056" y="60363"/>
                  </a:lnTo>
                  <a:lnTo>
                    <a:pt x="237274" y="62826"/>
                  </a:lnTo>
                  <a:lnTo>
                    <a:pt x="249504" y="60363"/>
                  </a:lnTo>
                  <a:lnTo>
                    <a:pt x="259486" y="53632"/>
                  </a:lnTo>
                  <a:lnTo>
                    <a:pt x="266230" y="43649"/>
                  </a:lnTo>
                  <a:lnTo>
                    <a:pt x="268693" y="31419"/>
                  </a:lnTo>
                  <a:close/>
                </a:path>
                <a:path w="474980" h="474980">
                  <a:moveTo>
                    <a:pt x="295148" y="262432"/>
                  </a:moveTo>
                  <a:lnTo>
                    <a:pt x="293027" y="254508"/>
                  </a:lnTo>
                  <a:lnTo>
                    <a:pt x="280631" y="247357"/>
                  </a:lnTo>
                  <a:lnTo>
                    <a:pt x="272707" y="249478"/>
                  </a:lnTo>
                  <a:lnTo>
                    <a:pt x="265544" y="261874"/>
                  </a:lnTo>
                  <a:lnTo>
                    <a:pt x="267677" y="269798"/>
                  </a:lnTo>
                  <a:lnTo>
                    <a:pt x="273875" y="273380"/>
                  </a:lnTo>
                  <a:lnTo>
                    <a:pt x="280073" y="276961"/>
                  </a:lnTo>
                  <a:lnTo>
                    <a:pt x="287985" y="274828"/>
                  </a:lnTo>
                  <a:lnTo>
                    <a:pt x="295148" y="262432"/>
                  </a:lnTo>
                  <a:close/>
                </a:path>
                <a:path w="474980" h="474980">
                  <a:moveTo>
                    <a:pt x="295148" y="212153"/>
                  </a:moveTo>
                  <a:lnTo>
                    <a:pt x="287985" y="199758"/>
                  </a:lnTo>
                  <a:lnTo>
                    <a:pt x="280073" y="197624"/>
                  </a:lnTo>
                  <a:lnTo>
                    <a:pt x="267677" y="204774"/>
                  </a:lnTo>
                  <a:lnTo>
                    <a:pt x="265557" y="212699"/>
                  </a:lnTo>
                  <a:lnTo>
                    <a:pt x="272707" y="225107"/>
                  </a:lnTo>
                  <a:lnTo>
                    <a:pt x="280631" y="227228"/>
                  </a:lnTo>
                  <a:lnTo>
                    <a:pt x="286829" y="223647"/>
                  </a:lnTo>
                  <a:lnTo>
                    <a:pt x="293027" y="220065"/>
                  </a:lnTo>
                  <a:lnTo>
                    <a:pt x="295148" y="212153"/>
                  </a:lnTo>
                  <a:close/>
                </a:path>
                <a:path w="474980" h="474980">
                  <a:moveTo>
                    <a:pt x="344893" y="153225"/>
                  </a:moveTo>
                  <a:lnTo>
                    <a:pt x="343179" y="144360"/>
                  </a:lnTo>
                  <a:lnTo>
                    <a:pt x="338010" y="136575"/>
                  </a:lnTo>
                  <a:lnTo>
                    <a:pt x="330212" y="131394"/>
                  </a:lnTo>
                  <a:lnTo>
                    <a:pt x="321348" y="129667"/>
                  </a:lnTo>
                  <a:lnTo>
                    <a:pt x="312483" y="131394"/>
                  </a:lnTo>
                  <a:lnTo>
                    <a:pt x="304698" y="136575"/>
                  </a:lnTo>
                  <a:lnTo>
                    <a:pt x="299516" y="144360"/>
                  </a:lnTo>
                  <a:lnTo>
                    <a:pt x="297789" y="153225"/>
                  </a:lnTo>
                  <a:lnTo>
                    <a:pt x="299516" y="162090"/>
                  </a:lnTo>
                  <a:lnTo>
                    <a:pt x="304698" y="169887"/>
                  </a:lnTo>
                  <a:lnTo>
                    <a:pt x="312483" y="175056"/>
                  </a:lnTo>
                  <a:lnTo>
                    <a:pt x="321348" y="176784"/>
                  </a:lnTo>
                  <a:lnTo>
                    <a:pt x="330212" y="175056"/>
                  </a:lnTo>
                  <a:lnTo>
                    <a:pt x="338010" y="169887"/>
                  </a:lnTo>
                  <a:lnTo>
                    <a:pt x="343179" y="162090"/>
                  </a:lnTo>
                  <a:lnTo>
                    <a:pt x="344893" y="153225"/>
                  </a:lnTo>
                  <a:close/>
                </a:path>
                <a:path w="474980" h="474980">
                  <a:moveTo>
                    <a:pt x="344906" y="321348"/>
                  </a:moveTo>
                  <a:lnTo>
                    <a:pt x="343179" y="312496"/>
                  </a:lnTo>
                  <a:lnTo>
                    <a:pt x="337997" y="304698"/>
                  </a:lnTo>
                  <a:lnTo>
                    <a:pt x="330212" y="299529"/>
                  </a:lnTo>
                  <a:lnTo>
                    <a:pt x="321348" y="297802"/>
                  </a:lnTo>
                  <a:lnTo>
                    <a:pt x="312483" y="299529"/>
                  </a:lnTo>
                  <a:lnTo>
                    <a:pt x="304698" y="304698"/>
                  </a:lnTo>
                  <a:lnTo>
                    <a:pt x="299516" y="312496"/>
                  </a:lnTo>
                  <a:lnTo>
                    <a:pt x="297802" y="321348"/>
                  </a:lnTo>
                  <a:lnTo>
                    <a:pt x="299516" y="330212"/>
                  </a:lnTo>
                  <a:lnTo>
                    <a:pt x="304698" y="338010"/>
                  </a:lnTo>
                  <a:lnTo>
                    <a:pt x="312483" y="343179"/>
                  </a:lnTo>
                  <a:lnTo>
                    <a:pt x="321348" y="344906"/>
                  </a:lnTo>
                  <a:lnTo>
                    <a:pt x="330212" y="343179"/>
                  </a:lnTo>
                  <a:lnTo>
                    <a:pt x="337997" y="338010"/>
                  </a:lnTo>
                  <a:lnTo>
                    <a:pt x="343179" y="330212"/>
                  </a:lnTo>
                  <a:lnTo>
                    <a:pt x="344906" y="321348"/>
                  </a:lnTo>
                  <a:close/>
                </a:path>
                <a:path w="474980" h="474980">
                  <a:moveTo>
                    <a:pt x="371398" y="411695"/>
                  </a:moveTo>
                  <a:lnTo>
                    <a:pt x="367423" y="399872"/>
                  </a:lnTo>
                  <a:lnTo>
                    <a:pt x="359168" y="390525"/>
                  </a:lnTo>
                  <a:lnTo>
                    <a:pt x="348348" y="385241"/>
                  </a:lnTo>
                  <a:lnTo>
                    <a:pt x="336346" y="384403"/>
                  </a:lnTo>
                  <a:lnTo>
                    <a:pt x="324523" y="388391"/>
                  </a:lnTo>
                  <a:lnTo>
                    <a:pt x="315163" y="396633"/>
                  </a:lnTo>
                  <a:lnTo>
                    <a:pt x="309880" y="407454"/>
                  </a:lnTo>
                  <a:lnTo>
                    <a:pt x="309054" y="419468"/>
                  </a:lnTo>
                  <a:lnTo>
                    <a:pt x="313016" y="431292"/>
                  </a:lnTo>
                  <a:lnTo>
                    <a:pt x="321271" y="440639"/>
                  </a:lnTo>
                  <a:lnTo>
                    <a:pt x="332092" y="445922"/>
                  </a:lnTo>
                  <a:lnTo>
                    <a:pt x="344106" y="446760"/>
                  </a:lnTo>
                  <a:lnTo>
                    <a:pt x="355917" y="442785"/>
                  </a:lnTo>
                  <a:lnTo>
                    <a:pt x="365277" y="434530"/>
                  </a:lnTo>
                  <a:lnTo>
                    <a:pt x="370560" y="423710"/>
                  </a:lnTo>
                  <a:lnTo>
                    <a:pt x="371398" y="411695"/>
                  </a:lnTo>
                  <a:close/>
                </a:path>
                <a:path w="474980" h="474980">
                  <a:moveTo>
                    <a:pt x="371398" y="62877"/>
                  </a:moveTo>
                  <a:lnTo>
                    <a:pt x="370560" y="50863"/>
                  </a:lnTo>
                  <a:lnTo>
                    <a:pt x="365277" y="40055"/>
                  </a:lnTo>
                  <a:lnTo>
                    <a:pt x="355930" y="31800"/>
                  </a:lnTo>
                  <a:lnTo>
                    <a:pt x="344106" y="27825"/>
                  </a:lnTo>
                  <a:lnTo>
                    <a:pt x="332092" y="28663"/>
                  </a:lnTo>
                  <a:lnTo>
                    <a:pt x="321271" y="33934"/>
                  </a:lnTo>
                  <a:lnTo>
                    <a:pt x="313029" y="43294"/>
                  </a:lnTo>
                  <a:lnTo>
                    <a:pt x="309054" y="55118"/>
                  </a:lnTo>
                  <a:lnTo>
                    <a:pt x="309892" y="67132"/>
                  </a:lnTo>
                  <a:lnTo>
                    <a:pt x="315163" y="77952"/>
                  </a:lnTo>
                  <a:lnTo>
                    <a:pt x="324523" y="86194"/>
                  </a:lnTo>
                  <a:lnTo>
                    <a:pt x="336346" y="90170"/>
                  </a:lnTo>
                  <a:lnTo>
                    <a:pt x="348348" y="89331"/>
                  </a:lnTo>
                  <a:lnTo>
                    <a:pt x="359168" y="84061"/>
                  </a:lnTo>
                  <a:lnTo>
                    <a:pt x="367423" y="74701"/>
                  </a:lnTo>
                  <a:lnTo>
                    <a:pt x="371398" y="62877"/>
                  </a:lnTo>
                  <a:close/>
                </a:path>
                <a:path w="474980" h="474980">
                  <a:moveTo>
                    <a:pt x="379717" y="237286"/>
                  </a:moveTo>
                  <a:lnTo>
                    <a:pt x="377863" y="228117"/>
                  </a:lnTo>
                  <a:lnTo>
                    <a:pt x="372821" y="220637"/>
                  </a:lnTo>
                  <a:lnTo>
                    <a:pt x="365340" y="215582"/>
                  </a:lnTo>
                  <a:lnTo>
                    <a:pt x="356171" y="213741"/>
                  </a:lnTo>
                  <a:lnTo>
                    <a:pt x="347002" y="215582"/>
                  </a:lnTo>
                  <a:lnTo>
                    <a:pt x="339509" y="220637"/>
                  </a:lnTo>
                  <a:lnTo>
                    <a:pt x="334467" y="228117"/>
                  </a:lnTo>
                  <a:lnTo>
                    <a:pt x="332625" y="237286"/>
                  </a:lnTo>
                  <a:lnTo>
                    <a:pt x="334467" y="246456"/>
                  </a:lnTo>
                  <a:lnTo>
                    <a:pt x="339509" y="253949"/>
                  </a:lnTo>
                  <a:lnTo>
                    <a:pt x="347002" y="258991"/>
                  </a:lnTo>
                  <a:lnTo>
                    <a:pt x="356171" y="260845"/>
                  </a:lnTo>
                  <a:lnTo>
                    <a:pt x="365340" y="258991"/>
                  </a:lnTo>
                  <a:lnTo>
                    <a:pt x="372821" y="253949"/>
                  </a:lnTo>
                  <a:lnTo>
                    <a:pt x="377863" y="246456"/>
                  </a:lnTo>
                  <a:lnTo>
                    <a:pt x="379717" y="237286"/>
                  </a:lnTo>
                  <a:close/>
                </a:path>
                <a:path w="474980" h="474980">
                  <a:moveTo>
                    <a:pt x="446747" y="344106"/>
                  </a:moveTo>
                  <a:lnTo>
                    <a:pt x="445909" y="332092"/>
                  </a:lnTo>
                  <a:lnTo>
                    <a:pt x="440639" y="321284"/>
                  </a:lnTo>
                  <a:lnTo>
                    <a:pt x="431292" y="313029"/>
                  </a:lnTo>
                  <a:lnTo>
                    <a:pt x="419468" y="309054"/>
                  </a:lnTo>
                  <a:lnTo>
                    <a:pt x="407454" y="309892"/>
                  </a:lnTo>
                  <a:lnTo>
                    <a:pt x="396621" y="315175"/>
                  </a:lnTo>
                  <a:lnTo>
                    <a:pt x="388378" y="324523"/>
                  </a:lnTo>
                  <a:lnTo>
                    <a:pt x="384403" y="336346"/>
                  </a:lnTo>
                  <a:lnTo>
                    <a:pt x="385241" y="348361"/>
                  </a:lnTo>
                  <a:lnTo>
                    <a:pt x="390525" y="359181"/>
                  </a:lnTo>
                  <a:lnTo>
                    <a:pt x="399872" y="367423"/>
                  </a:lnTo>
                  <a:lnTo>
                    <a:pt x="411695" y="371398"/>
                  </a:lnTo>
                  <a:lnTo>
                    <a:pt x="423710" y="370560"/>
                  </a:lnTo>
                  <a:lnTo>
                    <a:pt x="434530" y="365290"/>
                  </a:lnTo>
                  <a:lnTo>
                    <a:pt x="442772" y="355930"/>
                  </a:lnTo>
                  <a:lnTo>
                    <a:pt x="446747" y="344106"/>
                  </a:lnTo>
                  <a:close/>
                </a:path>
                <a:path w="474980" h="474980">
                  <a:moveTo>
                    <a:pt x="446747" y="130467"/>
                  </a:moveTo>
                  <a:lnTo>
                    <a:pt x="442772" y="118656"/>
                  </a:lnTo>
                  <a:lnTo>
                    <a:pt x="434530" y="109296"/>
                  </a:lnTo>
                  <a:lnTo>
                    <a:pt x="423710" y="104025"/>
                  </a:lnTo>
                  <a:lnTo>
                    <a:pt x="411695" y="103187"/>
                  </a:lnTo>
                  <a:lnTo>
                    <a:pt x="399872" y="107162"/>
                  </a:lnTo>
                  <a:lnTo>
                    <a:pt x="390525" y="115404"/>
                  </a:lnTo>
                  <a:lnTo>
                    <a:pt x="385241" y="126225"/>
                  </a:lnTo>
                  <a:lnTo>
                    <a:pt x="384403" y="138239"/>
                  </a:lnTo>
                  <a:lnTo>
                    <a:pt x="388378" y="150050"/>
                  </a:lnTo>
                  <a:lnTo>
                    <a:pt x="396633" y="159410"/>
                  </a:lnTo>
                  <a:lnTo>
                    <a:pt x="407454" y="164693"/>
                  </a:lnTo>
                  <a:lnTo>
                    <a:pt x="419455" y="165531"/>
                  </a:lnTo>
                  <a:lnTo>
                    <a:pt x="431279" y="161556"/>
                  </a:lnTo>
                  <a:lnTo>
                    <a:pt x="440639" y="153301"/>
                  </a:lnTo>
                  <a:lnTo>
                    <a:pt x="445909" y="142481"/>
                  </a:lnTo>
                  <a:lnTo>
                    <a:pt x="446747" y="130467"/>
                  </a:lnTo>
                  <a:close/>
                </a:path>
                <a:path w="474980" h="474980">
                  <a:moveTo>
                    <a:pt x="474573" y="237286"/>
                  </a:moveTo>
                  <a:lnTo>
                    <a:pt x="472109" y="225069"/>
                  </a:lnTo>
                  <a:lnTo>
                    <a:pt x="465366" y="215087"/>
                  </a:lnTo>
                  <a:lnTo>
                    <a:pt x="455383" y="208356"/>
                  </a:lnTo>
                  <a:lnTo>
                    <a:pt x="443153" y="205879"/>
                  </a:lnTo>
                  <a:lnTo>
                    <a:pt x="430936" y="208356"/>
                  </a:lnTo>
                  <a:lnTo>
                    <a:pt x="420941" y="215087"/>
                  </a:lnTo>
                  <a:lnTo>
                    <a:pt x="414210" y="225069"/>
                  </a:lnTo>
                  <a:lnTo>
                    <a:pt x="411746" y="237286"/>
                  </a:lnTo>
                  <a:lnTo>
                    <a:pt x="414210" y="249516"/>
                  </a:lnTo>
                  <a:lnTo>
                    <a:pt x="420941" y="259499"/>
                  </a:lnTo>
                  <a:lnTo>
                    <a:pt x="430936" y="266230"/>
                  </a:lnTo>
                  <a:lnTo>
                    <a:pt x="443153" y="268693"/>
                  </a:lnTo>
                  <a:lnTo>
                    <a:pt x="455383" y="266230"/>
                  </a:lnTo>
                  <a:lnTo>
                    <a:pt x="465366" y="259499"/>
                  </a:lnTo>
                  <a:lnTo>
                    <a:pt x="472109" y="249516"/>
                  </a:lnTo>
                  <a:lnTo>
                    <a:pt x="474573" y="237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82A69B8-8BA3-E9DC-7A9D-FA14853D36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14532EF3-B6F0-B76B-9CFE-47CDEDAE2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99" y="1430340"/>
            <a:ext cx="5310188" cy="2720388"/>
          </a:xfrm>
        </p:spPr>
        <p:txBody>
          <a:bodyPr/>
          <a:lstStyle>
            <a:lvl1pPr>
              <a:defRPr sz="4800" spc="-17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3 </a:t>
            </a:r>
            <a:br>
              <a:rPr lang="en-GB" dirty="0"/>
            </a:br>
            <a:r>
              <a:rPr lang="en-GB" dirty="0"/>
              <a:t>that can break over three lines if required</a:t>
            </a:r>
            <a:br>
              <a:rPr lang="en-GB" dirty="0"/>
            </a:b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ACB6CFB-017C-07CB-C76D-D9162BE65281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  <a:solidFill>
            <a:schemeClr val="bg1"/>
          </a:solidFill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6AA5BB6-48E5-8E32-B4AA-B288D7B7E4A2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4D478FC-C1D6-0DE6-37C6-AA33FAD9B03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8137BB38-0D85-AF41-480D-149A509D2BC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3AD72DA-E868-B4DE-E8F7-70DDC92BB2E7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  <a:grpFill/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BD0C1D91-FFA1-5FDB-CEB8-B0B02CFC7AA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D82E447C-7A71-9209-D595-EE57E23B3EB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7" name="object 3">
            <a:extLst>
              <a:ext uri="{FF2B5EF4-FFF2-40B4-BE49-F238E27FC236}">
                <a16:creationId xmlns:a16="http://schemas.microsoft.com/office/drawing/2014/main" id="{C5EF4511-BC4F-0983-B1FD-B1C40AF754A9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58531630-32B9-1621-E0BF-AB57475FA4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759" y="795828"/>
            <a:ext cx="5310188" cy="310352"/>
          </a:xfrm>
        </p:spPr>
        <p:txBody>
          <a:bodyPr/>
          <a:lstStyle>
            <a:lvl1pPr>
              <a:defRPr sz="2000" b="1" spc="-20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Section Title goes here]</a:t>
            </a:r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9A87186C-6BB8-7F54-1DBF-FCB960A850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 presentation title ]</a:t>
            </a:r>
            <a:endParaRPr lang="en-GB" dirty="0"/>
          </a:p>
        </p:txBody>
      </p:sp>
      <p:sp>
        <p:nvSpPr>
          <p:cNvPr id="2" name="Text Placeholder 42">
            <a:extLst>
              <a:ext uri="{FF2B5EF4-FFF2-40B4-BE49-F238E27FC236}">
                <a16:creationId xmlns:a16="http://schemas.microsoft.com/office/drawing/2014/main" id="{7268F453-5DD7-4B1B-D9E2-E8A983EBC9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2443" y="1442171"/>
            <a:ext cx="4248143" cy="986701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400" spc="-8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800" spc="-40" baseline="0"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Presentation subtitle goes here over two lines if required. 24pt. </a:t>
            </a:r>
          </a:p>
        </p:txBody>
      </p:sp>
      <p:sp>
        <p:nvSpPr>
          <p:cNvPr id="3" name="object 20"/>
          <p:cNvSpPr/>
          <p:nvPr userDrawn="1"/>
        </p:nvSpPr>
        <p:spPr>
          <a:xfrm>
            <a:off x="6096000" y="723849"/>
            <a:ext cx="0" cy="5943472"/>
          </a:xfrm>
          <a:custGeom>
            <a:avLst/>
            <a:gdLst/>
            <a:ahLst/>
            <a:cxnLst/>
            <a:rect l="l" t="t" r="r" b="b"/>
            <a:pathLst>
              <a:path h="9801225">
                <a:moveTo>
                  <a:pt x="0" y="0"/>
                </a:moveTo>
                <a:lnTo>
                  <a:pt x="0" y="9800748"/>
                </a:lnTo>
              </a:path>
            </a:pathLst>
          </a:custGeom>
          <a:ln w="10470">
            <a:solidFill>
              <a:srgbClr val="D5EAE6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5" name="object 14">
            <a:extLst>
              <a:ext uri="{FF2B5EF4-FFF2-40B4-BE49-F238E27FC236}">
                <a16:creationId xmlns:a16="http://schemas.microsoft.com/office/drawing/2014/main" id="{360B8ECF-9133-C99E-C5A9-E2E52B1C4435}"/>
              </a:ext>
            </a:extLst>
          </p:cNvPr>
          <p:cNvGrpSpPr/>
          <p:nvPr userDrawn="1"/>
        </p:nvGrpSpPr>
        <p:grpSpPr>
          <a:xfrm>
            <a:off x="6438981" y="1217676"/>
            <a:ext cx="224493" cy="224493"/>
            <a:chOff x="10679834" y="2116859"/>
            <a:chExt cx="370205" cy="370205"/>
          </a:xfrm>
        </p:grpSpPr>
        <p:sp>
          <p:nvSpPr>
            <p:cNvPr id="6" name="object 15">
              <a:extLst>
                <a:ext uri="{FF2B5EF4-FFF2-40B4-BE49-F238E27FC236}">
                  <a16:creationId xmlns:a16="http://schemas.microsoft.com/office/drawing/2014/main" id="{62AEEE1B-D552-0C83-11B2-961F25033E89}"/>
                </a:ext>
              </a:extLst>
            </p:cNvPr>
            <p:cNvSpPr/>
            <p:nvPr/>
          </p:nvSpPr>
          <p:spPr>
            <a:xfrm>
              <a:off x="10686949" y="2116862"/>
              <a:ext cx="0" cy="370205"/>
            </a:xfrm>
            <a:custGeom>
              <a:avLst/>
              <a:gdLst/>
              <a:ahLst/>
              <a:cxnLst/>
              <a:rect l="l" t="t" r="r" b="b"/>
              <a:pathLst>
                <a:path h="370205">
                  <a:moveTo>
                    <a:pt x="0" y="0"/>
                  </a:moveTo>
                  <a:lnTo>
                    <a:pt x="0" y="369842"/>
                  </a:lnTo>
                </a:path>
              </a:pathLst>
            </a:custGeom>
            <a:ln w="1422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object 16">
              <a:extLst>
                <a:ext uri="{FF2B5EF4-FFF2-40B4-BE49-F238E27FC236}">
                  <a16:creationId xmlns:a16="http://schemas.microsoft.com/office/drawing/2014/main" id="{06EB6859-C8FF-37AA-B2E2-A7F59C880C2A}"/>
                </a:ext>
              </a:extLst>
            </p:cNvPr>
            <p:cNvSpPr/>
            <p:nvPr/>
          </p:nvSpPr>
          <p:spPr>
            <a:xfrm>
              <a:off x="10679838" y="2123974"/>
              <a:ext cx="370205" cy="0"/>
            </a:xfrm>
            <a:custGeom>
              <a:avLst/>
              <a:gdLst/>
              <a:ahLst/>
              <a:cxnLst/>
              <a:rect l="l" t="t" r="r" b="b"/>
              <a:pathLst>
                <a:path w="370204">
                  <a:moveTo>
                    <a:pt x="0" y="0"/>
                  </a:moveTo>
                  <a:lnTo>
                    <a:pt x="369842" y="0"/>
                  </a:lnTo>
                </a:path>
              </a:pathLst>
            </a:custGeom>
            <a:ln w="1422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8" name="object 17">
            <a:extLst>
              <a:ext uri="{FF2B5EF4-FFF2-40B4-BE49-F238E27FC236}">
                <a16:creationId xmlns:a16="http://schemas.microsoft.com/office/drawing/2014/main" id="{AC44FE70-ED21-09C6-2FFA-81933275004B}"/>
              </a:ext>
            </a:extLst>
          </p:cNvPr>
          <p:cNvGrpSpPr/>
          <p:nvPr userDrawn="1"/>
        </p:nvGrpSpPr>
        <p:grpSpPr>
          <a:xfrm>
            <a:off x="11198076" y="2448338"/>
            <a:ext cx="224493" cy="224493"/>
            <a:chOff x="18621210" y="4239587"/>
            <a:chExt cx="370205" cy="370205"/>
          </a:xfrm>
        </p:grpSpPr>
        <p:sp>
          <p:nvSpPr>
            <p:cNvPr id="9" name="object 18">
              <a:extLst>
                <a:ext uri="{FF2B5EF4-FFF2-40B4-BE49-F238E27FC236}">
                  <a16:creationId xmlns:a16="http://schemas.microsoft.com/office/drawing/2014/main" id="{46C5D13F-6067-FA6D-7FCF-A0847D668019}"/>
                </a:ext>
              </a:extLst>
            </p:cNvPr>
            <p:cNvSpPr/>
            <p:nvPr/>
          </p:nvSpPr>
          <p:spPr>
            <a:xfrm>
              <a:off x="18983942" y="4239587"/>
              <a:ext cx="0" cy="370205"/>
            </a:xfrm>
            <a:custGeom>
              <a:avLst/>
              <a:gdLst/>
              <a:ahLst/>
              <a:cxnLst/>
              <a:rect l="l" t="t" r="r" b="b"/>
              <a:pathLst>
                <a:path h="370204">
                  <a:moveTo>
                    <a:pt x="0" y="369842"/>
                  </a:moveTo>
                  <a:lnTo>
                    <a:pt x="0" y="0"/>
                  </a:lnTo>
                </a:path>
              </a:pathLst>
            </a:custGeom>
            <a:ln w="1422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object 19">
              <a:extLst>
                <a:ext uri="{FF2B5EF4-FFF2-40B4-BE49-F238E27FC236}">
                  <a16:creationId xmlns:a16="http://schemas.microsoft.com/office/drawing/2014/main" id="{B08DF403-153B-2B6B-4C00-20CAD3DEB398}"/>
                </a:ext>
              </a:extLst>
            </p:cNvPr>
            <p:cNvSpPr/>
            <p:nvPr/>
          </p:nvSpPr>
          <p:spPr>
            <a:xfrm>
              <a:off x="18621210" y="4602315"/>
              <a:ext cx="370205" cy="0"/>
            </a:xfrm>
            <a:custGeom>
              <a:avLst/>
              <a:gdLst/>
              <a:ahLst/>
              <a:cxnLst/>
              <a:rect l="l" t="t" r="r" b="b"/>
              <a:pathLst>
                <a:path w="370205">
                  <a:moveTo>
                    <a:pt x="369842" y="0"/>
                  </a:moveTo>
                  <a:lnTo>
                    <a:pt x="0" y="0"/>
                  </a:lnTo>
                </a:path>
              </a:pathLst>
            </a:custGeom>
            <a:ln w="1422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18763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61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A4726FD-F895-0DCB-2661-B376182C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363" y="763588"/>
            <a:ext cx="11129135" cy="465103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/>
          <a:p>
            <a:r>
              <a:rPr lang="en-US" dirty="0"/>
              <a:t>Slide Title 48pt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196227-6D01-87AC-A780-C0CDA9B1FF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799" y="2095500"/>
            <a:ext cx="11326813" cy="3663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61A25-923A-3AB6-BAE1-772BE64BD2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32063" y="115887"/>
            <a:ext cx="90932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 cap="all" spc="-5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[ presentation title ]</a:t>
            </a:r>
            <a:endParaRPr lang="en-GB" sz="1200" dirty="0"/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ED03BBA4-709C-18F8-9986-55F5AEBDEA54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8CBCF123-88EC-2D75-DDC2-DF654ABC1673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3" name="object 9">
            <a:extLst>
              <a:ext uri="{FF2B5EF4-FFF2-40B4-BE49-F238E27FC236}">
                <a16:creationId xmlns:a16="http://schemas.microsoft.com/office/drawing/2014/main" id="{606CEC5C-AC75-D51B-259A-62CC66B06B18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6EB88D0-3B11-9E92-8030-EF1C29D13FB2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BC947ED-7225-A031-4C47-B0666B5CBC08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B36ADE89-6384-C311-D887-CEEDC30F65C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D632B3A6-E4D7-9AAF-A3D7-55DB24FF82B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BE732F3A-4421-DD93-7774-1BD7F663BEB7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00EC37CE-0894-8AFC-FFA2-4149CBC2C30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9B0F03E-BF70-4746-E496-AACACD3BEF8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5913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762" r:id="rId2"/>
    <p:sldLayoutId id="2147483802" r:id="rId3"/>
    <p:sldLayoutId id="2147483731" r:id="rId4"/>
    <p:sldLayoutId id="2147483738" r:id="rId5"/>
    <p:sldLayoutId id="2147483764" r:id="rId6"/>
    <p:sldLayoutId id="2147483765" r:id="rId7"/>
    <p:sldLayoutId id="2147483766" r:id="rId8"/>
    <p:sldLayoutId id="2147483767" r:id="rId9"/>
    <p:sldLayoutId id="2147483662" r:id="rId10"/>
    <p:sldLayoutId id="2147483769" r:id="rId11"/>
    <p:sldLayoutId id="2147483770" r:id="rId12"/>
    <p:sldLayoutId id="2147483771" r:id="rId13"/>
    <p:sldLayoutId id="2147483774" r:id="rId14"/>
    <p:sldLayoutId id="2147483775" r:id="rId15"/>
    <p:sldLayoutId id="2147483776" r:id="rId16"/>
    <p:sldLayoutId id="2147483780" r:id="rId17"/>
    <p:sldLayoutId id="2147483782" r:id="rId18"/>
    <p:sldLayoutId id="2147483806" r:id="rId19"/>
    <p:sldLayoutId id="2147483784" r:id="rId20"/>
    <p:sldLayoutId id="2147483805" r:id="rId21"/>
    <p:sldLayoutId id="2147483785" r:id="rId22"/>
    <p:sldLayoutId id="2147483804" r:id="rId23"/>
    <p:sldLayoutId id="2147483808" r:id="rId24"/>
    <p:sldLayoutId id="2147483811" r:id="rId25"/>
    <p:sldLayoutId id="2147483809" r:id="rId26"/>
    <p:sldLayoutId id="2147483810" r:id="rId27"/>
    <p:sldLayoutId id="2147483788" r:id="rId28"/>
    <p:sldLayoutId id="2147483789" r:id="rId29"/>
    <p:sldLayoutId id="2147483791" r:id="rId30"/>
    <p:sldLayoutId id="2147483795" r:id="rId31"/>
    <p:sldLayoutId id="2147483796" r:id="rId32"/>
    <p:sldLayoutId id="2147483803" r:id="rId33"/>
    <p:sldLayoutId id="2147483797" r:id="rId34"/>
    <p:sldLayoutId id="2147483799" r:id="rId35"/>
    <p:sldLayoutId id="2147483800" r:id="rId36"/>
    <p:sldLayoutId id="2147483798" r:id="rId37"/>
    <p:sldLayoutId id="2147483801" r:id="rId38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400" kern="1200" spc="-15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Tx/>
        <a:buNone/>
        <a:defRPr sz="2200" kern="1200" spc="-30" baseline="0">
          <a:solidFill>
            <a:schemeClr val="tx1"/>
          </a:solidFill>
          <a:latin typeface="+mn-lt"/>
          <a:ea typeface="+mn-ea"/>
          <a:cs typeface="+mn-cs"/>
        </a:defRPr>
      </a:lvl1pPr>
      <a:lvl2pPr marL="265113" indent="-265113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SzPct val="120000"/>
        <a:buFont typeface="UKCEH Suisse" panose="020B0504000000000000" pitchFamily="34" charset="-78"/>
        <a:buChar char="•"/>
        <a:defRPr sz="2200" kern="1200" spc="-3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Tx/>
        <a:buNone/>
        <a:defRPr lang="en-US" sz="2400" b="1" kern="0" spc="-30" baseline="0" dirty="0">
          <a:solidFill>
            <a:schemeClr val="tx1"/>
          </a:solidFill>
          <a:latin typeface="+mn-lt"/>
          <a:ea typeface="+mn-ea"/>
          <a:cs typeface="UKCEH Suisse" panose="020B0504000000000000" pitchFamily="34" charset="-78"/>
        </a:defRPr>
      </a:lvl3pPr>
      <a:lvl4pPr marL="0" indent="0" algn="l" defTabSz="914400" rtl="0" eaLnBrk="1" latinLnBrk="0" hangingPunct="1">
        <a:lnSpc>
          <a:spcPct val="90000"/>
        </a:lnSpc>
        <a:spcBef>
          <a:spcPts val="3000"/>
        </a:spcBef>
        <a:spcAft>
          <a:spcPts val="0"/>
        </a:spcAft>
        <a:buFontTx/>
        <a:buNone/>
        <a:defRPr sz="3200" kern="1200" spc="-10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SzPct val="110000"/>
        <a:buFont typeface="UKCEH Suisse" panose="020B0504000000000000" pitchFamily="34" charset="-78"/>
        <a:buNone/>
        <a:defRPr sz="2200" kern="1200" spc="-30" baseline="0">
          <a:solidFill>
            <a:schemeClr val="tx1"/>
          </a:solidFill>
          <a:latin typeface="UKCEH Suisse Semibold" panose="020B0704000000000000" pitchFamily="34" charset="-78"/>
          <a:ea typeface="+mn-ea"/>
          <a:cs typeface="UKCEH Suisse Semibold" panose="020B0704000000000000" pitchFamily="34" charset="-78"/>
        </a:defRPr>
      </a:lvl5pPr>
      <a:lvl6pPr marL="538163" indent="-27305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SzPct val="120000"/>
        <a:buFont typeface="UKCEH Suisse" panose="020B0504000000000000" pitchFamily="34" charset="-78"/>
        <a:buChar char="•"/>
        <a:defRPr sz="2200" b="0" kern="1200" spc="-20" baseline="0">
          <a:solidFill>
            <a:schemeClr val="tx1"/>
          </a:solidFill>
          <a:latin typeface="+mn-lt"/>
          <a:ea typeface="+mn-ea"/>
          <a:cs typeface="UKCEH Suisse Semibold" panose="020B0704000000000000" pitchFamily="34" charset="-78"/>
        </a:defRPr>
      </a:lvl6pPr>
      <a:lvl7pPr marL="0" indent="0" algn="l" defTabSz="914400" rtl="0" eaLnBrk="1" latinLnBrk="0" hangingPunct="1">
        <a:lnSpc>
          <a:spcPct val="90000"/>
        </a:lnSpc>
        <a:spcBef>
          <a:spcPts val="1200"/>
        </a:spcBef>
        <a:buFontTx/>
        <a:buNone/>
        <a:defRPr sz="2800" kern="1200" spc="-1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Tx/>
        <a:buNone/>
        <a:defRPr sz="2800" b="1" kern="1200" spc="-100" baseline="0">
          <a:solidFill>
            <a:schemeClr val="tx1"/>
          </a:solidFill>
          <a:latin typeface="UKCEH Suisse Semibold" panose="020B0704000000000000" pitchFamily="34" charset="-78"/>
          <a:ea typeface="+mn-ea"/>
          <a:cs typeface="UKCEH Suisse Semibold" panose="020B0704000000000000" pitchFamily="34" charset="-78"/>
        </a:defRPr>
      </a:lvl8pPr>
      <a:lvl9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272" userDrawn="1">
          <p15:clr>
            <a:srgbClr val="F26B43"/>
          </p15:clr>
        </p15:guide>
        <p15:guide id="4" pos="483" userDrawn="1">
          <p15:clr>
            <a:srgbClr val="F26B43"/>
          </p15:clr>
        </p15:guide>
        <p15:guide id="5" pos="733" userDrawn="1">
          <p15:clr>
            <a:srgbClr val="F26B43"/>
          </p15:clr>
        </p15:guide>
        <p15:guide id="6" pos="941" userDrawn="1">
          <p15:clr>
            <a:srgbClr val="F26B43"/>
          </p15:clr>
        </p15:guide>
        <p15:guide id="7" pos="1164" userDrawn="1">
          <p15:clr>
            <a:srgbClr val="F26B43"/>
          </p15:clr>
        </p15:guide>
        <p15:guide id="8" pos="1387" userDrawn="1">
          <p15:clr>
            <a:srgbClr val="F26B43"/>
          </p15:clr>
        </p15:guide>
        <p15:guide id="9" pos="1595" userDrawn="1">
          <p15:clr>
            <a:srgbClr val="F26B43"/>
          </p15:clr>
        </p15:guide>
        <p15:guide id="10" pos="1833" userDrawn="1">
          <p15:clr>
            <a:srgbClr val="F26B43"/>
          </p15:clr>
        </p15:guide>
        <p15:guide id="11" pos="2056" userDrawn="1">
          <p15:clr>
            <a:srgbClr val="F26B43"/>
          </p15:clr>
        </p15:guide>
        <p15:guide id="12" pos="2275" userDrawn="1">
          <p15:clr>
            <a:srgbClr val="F26B43"/>
          </p15:clr>
        </p15:guide>
        <p15:guide id="13" pos="2502" userDrawn="1">
          <p15:clr>
            <a:srgbClr val="F26B43"/>
          </p15:clr>
        </p15:guide>
        <p15:guide id="14" pos="2729" userDrawn="1">
          <p15:clr>
            <a:srgbClr val="F26B43"/>
          </p15:clr>
        </p15:guide>
        <p15:guide id="15" pos="2948" userDrawn="1">
          <p15:clr>
            <a:srgbClr val="F26B43"/>
          </p15:clr>
        </p15:guide>
        <p15:guide id="16" pos="3171" userDrawn="1">
          <p15:clr>
            <a:srgbClr val="F26B43"/>
          </p15:clr>
        </p15:guide>
        <p15:guide id="17" pos="3394" userDrawn="1">
          <p15:clr>
            <a:srgbClr val="F26B43"/>
          </p15:clr>
        </p15:guide>
        <p15:guide id="18" pos="3617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4062" userDrawn="1">
          <p15:clr>
            <a:srgbClr val="F26B43"/>
          </p15:clr>
        </p15:guide>
        <p15:guide id="21" pos="4285" userDrawn="1">
          <p15:clr>
            <a:srgbClr val="F26B43"/>
          </p15:clr>
        </p15:guide>
        <p15:guide id="22" pos="4508" userDrawn="1">
          <p15:clr>
            <a:srgbClr val="F26B43"/>
          </p15:clr>
        </p15:guide>
        <p15:guide id="23" pos="4731" userDrawn="1">
          <p15:clr>
            <a:srgbClr val="F26B43"/>
          </p15:clr>
        </p15:guide>
        <p15:guide id="24" pos="4954" userDrawn="1">
          <p15:clr>
            <a:srgbClr val="F26B43"/>
          </p15:clr>
        </p15:guide>
        <p15:guide id="25" pos="5201" userDrawn="1">
          <p15:clr>
            <a:srgbClr val="F26B43"/>
          </p15:clr>
        </p15:guide>
        <p15:guide id="26" pos="5400" userDrawn="1">
          <p15:clr>
            <a:srgbClr val="F26B43"/>
          </p15:clr>
        </p15:guide>
        <p15:guide id="27" pos="5623" userDrawn="1">
          <p15:clr>
            <a:srgbClr val="F26B43"/>
          </p15:clr>
        </p15:guide>
        <p15:guide id="28" pos="5846" userDrawn="1">
          <p15:clr>
            <a:srgbClr val="F26B43"/>
          </p15:clr>
        </p15:guide>
        <p15:guide id="29" pos="6069" userDrawn="1">
          <p15:clr>
            <a:srgbClr val="F26B43"/>
          </p15:clr>
        </p15:guide>
        <p15:guide id="30" pos="6292" userDrawn="1">
          <p15:clr>
            <a:srgbClr val="F26B43"/>
          </p15:clr>
        </p15:guide>
        <p15:guide id="31" pos="6515" userDrawn="1">
          <p15:clr>
            <a:srgbClr val="F26B43"/>
          </p15:clr>
        </p15:guide>
        <p15:guide id="32" pos="6738" userDrawn="1">
          <p15:clr>
            <a:srgbClr val="F26B43"/>
          </p15:clr>
        </p15:guide>
        <p15:guide id="33" pos="6961" userDrawn="1">
          <p15:clr>
            <a:srgbClr val="F26B43"/>
          </p15:clr>
        </p15:guide>
        <p15:guide id="34" pos="7184" userDrawn="1">
          <p15:clr>
            <a:srgbClr val="F26B43"/>
          </p15:clr>
        </p15:guide>
        <p15:guide id="35" pos="7407" userDrawn="1">
          <p15:clr>
            <a:srgbClr val="F26B43"/>
          </p15:clr>
        </p15:guide>
        <p15:guide id="36" orient="horz" userDrawn="1">
          <p15:clr>
            <a:srgbClr val="F26B43"/>
          </p15:clr>
        </p15:guide>
        <p15:guide id="37" orient="horz" pos="4320" userDrawn="1">
          <p15:clr>
            <a:srgbClr val="F26B43"/>
          </p15:clr>
        </p15:guide>
        <p15:guide id="38" orient="horz" pos="255" userDrawn="1">
          <p15:clr>
            <a:srgbClr val="F26B43"/>
          </p15:clr>
        </p15:guide>
        <p15:guide id="39" orient="horz" pos="481" userDrawn="1">
          <p15:clr>
            <a:srgbClr val="F26B43"/>
          </p15:clr>
        </p15:guide>
        <p15:guide id="40" orient="horz" pos="691" userDrawn="1">
          <p15:clr>
            <a:srgbClr val="F26B43"/>
          </p15:clr>
        </p15:guide>
        <p15:guide id="41" orient="horz" pos="901" userDrawn="1">
          <p15:clr>
            <a:srgbClr val="F26B43"/>
          </p15:clr>
        </p15:guide>
        <p15:guide id="42" orient="horz" pos="1111" userDrawn="1">
          <p15:clr>
            <a:srgbClr val="F26B43"/>
          </p15:clr>
        </p15:guide>
        <p15:guide id="43" orient="horz" pos="1320" userDrawn="1">
          <p15:clr>
            <a:srgbClr val="F26B43"/>
          </p15:clr>
        </p15:guide>
        <p15:guide id="44" orient="horz" pos="1530" userDrawn="1">
          <p15:clr>
            <a:srgbClr val="F26B43"/>
          </p15:clr>
        </p15:guide>
        <p15:guide id="45" orient="horz" pos="1740" userDrawn="1">
          <p15:clr>
            <a:srgbClr val="F26B43"/>
          </p15:clr>
        </p15:guide>
        <p15:guide id="46" orient="horz" pos="1950" userDrawn="1">
          <p15:clr>
            <a:srgbClr val="F26B43"/>
          </p15:clr>
        </p15:guide>
        <p15:guide id="47" orient="horz" pos="2160" userDrawn="1">
          <p15:clr>
            <a:srgbClr val="F26B43"/>
          </p15:clr>
        </p15:guide>
        <p15:guide id="48" orient="horz" pos="2369" userDrawn="1">
          <p15:clr>
            <a:srgbClr val="F26B43"/>
          </p15:clr>
        </p15:guide>
        <p15:guide id="49" orient="horz" pos="2579" userDrawn="1">
          <p15:clr>
            <a:srgbClr val="F26B43"/>
          </p15:clr>
        </p15:guide>
        <p15:guide id="50" orient="horz" pos="2789" userDrawn="1">
          <p15:clr>
            <a:srgbClr val="F26B43"/>
          </p15:clr>
        </p15:guide>
        <p15:guide id="51" orient="horz" pos="2999" userDrawn="1">
          <p15:clr>
            <a:srgbClr val="F26B43"/>
          </p15:clr>
        </p15:guide>
        <p15:guide id="52" orient="horz" pos="3208" userDrawn="1">
          <p15:clr>
            <a:srgbClr val="F26B43"/>
          </p15:clr>
        </p15:guide>
        <p15:guide id="53" orient="horz" pos="3418" userDrawn="1">
          <p15:clr>
            <a:srgbClr val="F26B43"/>
          </p15:clr>
        </p15:guide>
        <p15:guide id="54" orient="horz" pos="3628" userDrawn="1">
          <p15:clr>
            <a:srgbClr val="F26B43"/>
          </p15:clr>
        </p15:guide>
        <p15:guide id="55" orient="horz" pos="3838" userDrawn="1">
          <p15:clr>
            <a:srgbClr val="F26B43"/>
          </p15:clr>
        </p15:guide>
        <p15:guide id="56" orient="horz" pos="4047" userDrawn="1">
          <p15:clr>
            <a:srgbClr val="F26B43"/>
          </p15:clr>
        </p15:guide>
        <p15:guide id="57" pos="75" userDrawn="1">
          <p15:clr>
            <a:srgbClr val="F26B43"/>
          </p15:clr>
        </p15:guide>
        <p15:guide id="58" pos="7491" userDrawn="1">
          <p15:clr>
            <a:srgbClr val="F26B43"/>
          </p15:clr>
        </p15:guide>
        <p15:guide id="59" orient="horz" pos="73" userDrawn="1">
          <p15:clr>
            <a:srgbClr val="F26B43"/>
          </p15:clr>
        </p15:guide>
        <p15:guide id="60" orient="horz" pos="4247" userDrawn="1">
          <p15:clr>
            <a:srgbClr val="F26B43"/>
          </p15:clr>
        </p15:guide>
        <p15:guide id="61" pos="175" userDrawn="1">
          <p15:clr>
            <a:srgbClr val="F26B43"/>
          </p15:clr>
        </p15:guide>
        <p15:guide id="62" pos="7605" userDrawn="1">
          <p15:clr>
            <a:srgbClr val="F26B43"/>
          </p15:clr>
        </p15:guide>
        <p15:guide id="63" orient="horz" pos="413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A4726FD-F895-0DCB-2661-B376182C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363" y="763588"/>
            <a:ext cx="11129135" cy="465103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/>
          <a:p>
            <a:r>
              <a:rPr lang="en-US" dirty="0"/>
              <a:t>Slide Title 48pt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196227-6D01-87AC-A780-C0CDA9B1FF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799" y="2095500"/>
            <a:ext cx="11326813" cy="3663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61A25-923A-3AB6-BAE1-772BE64BD2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32063" y="115887"/>
            <a:ext cx="90932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 cap="all" spc="-5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[ presentation title ]</a:t>
            </a:r>
            <a:endParaRPr lang="en-GB" sz="12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9B8D94-D66B-90F9-6A84-05282053B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sz="1200" dirty="0"/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ED03BBA4-709C-18F8-9986-55F5AEBDEA54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8CBCF123-88EC-2D75-DDC2-DF654ABC1673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3" name="object 9">
            <a:extLst>
              <a:ext uri="{FF2B5EF4-FFF2-40B4-BE49-F238E27FC236}">
                <a16:creationId xmlns:a16="http://schemas.microsoft.com/office/drawing/2014/main" id="{606CEC5C-AC75-D51B-259A-62CC66B06B18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6EB88D0-3B11-9E92-8030-EF1C29D13FB2}"/>
              </a:ext>
            </a:extLst>
          </p:cNvPr>
          <p:cNvGrpSpPr/>
          <p:nvPr userDrawn="1"/>
        </p:nvGrpSpPr>
        <p:grpSpPr>
          <a:xfrm>
            <a:off x="120673" y="601896"/>
            <a:ext cx="11959457" cy="60193"/>
            <a:chOff x="120673" y="601896"/>
            <a:chExt cx="11959457" cy="60193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B36ADE89-6384-C311-D887-CEEDC30F65C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0673" y="601896"/>
              <a:ext cx="60193" cy="6019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00EC37CE-0894-8AFC-FFA2-4149CBC2C30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019937" y="601896"/>
              <a:ext cx="60193" cy="6019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21120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7" r:id="rId6"/>
    <p:sldLayoutId id="2147483858" r:id="rId7"/>
    <p:sldLayoutId id="2147483859" r:id="rId8"/>
    <p:sldLayoutId id="2147483868" r:id="rId9"/>
    <p:sldLayoutId id="2147483875" r:id="rId10"/>
    <p:sldLayoutId id="2147483882" r:id="rId11"/>
    <p:sldLayoutId id="2147483883" r:id="rId12"/>
    <p:sldLayoutId id="2147483885" r:id="rId13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400" kern="1200" spc="-15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Tx/>
        <a:buNone/>
        <a:defRPr sz="2200" kern="1200" spc="-30" baseline="0">
          <a:solidFill>
            <a:schemeClr val="tx1"/>
          </a:solidFill>
          <a:latin typeface="+mn-lt"/>
          <a:ea typeface="+mn-ea"/>
          <a:cs typeface="+mn-cs"/>
        </a:defRPr>
      </a:lvl1pPr>
      <a:lvl2pPr marL="265113" indent="-265113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SzPct val="120000"/>
        <a:buFont typeface="UKCEH Suisse" panose="020B0504000000000000" pitchFamily="34" charset="-78"/>
        <a:buChar char="•"/>
        <a:defRPr sz="2200" kern="1200" spc="-3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Tx/>
        <a:buNone/>
        <a:defRPr lang="en-US" sz="2400" b="1" kern="0" spc="-30" baseline="0" dirty="0">
          <a:solidFill>
            <a:schemeClr val="tx1"/>
          </a:solidFill>
          <a:latin typeface="+mn-lt"/>
          <a:ea typeface="+mn-ea"/>
          <a:cs typeface="UKCEH Suisse" panose="020B0504000000000000" pitchFamily="34" charset="-78"/>
        </a:defRPr>
      </a:lvl3pPr>
      <a:lvl4pPr marL="0" indent="0" algn="l" defTabSz="914400" rtl="0" eaLnBrk="1" latinLnBrk="0" hangingPunct="1">
        <a:lnSpc>
          <a:spcPct val="90000"/>
        </a:lnSpc>
        <a:spcBef>
          <a:spcPts val="3000"/>
        </a:spcBef>
        <a:spcAft>
          <a:spcPts val="0"/>
        </a:spcAft>
        <a:buFontTx/>
        <a:buNone/>
        <a:defRPr sz="3200" kern="1200" spc="-10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SzPct val="110000"/>
        <a:buFont typeface="UKCEH Suisse" panose="020B0504000000000000" pitchFamily="34" charset="-78"/>
        <a:buNone/>
        <a:defRPr sz="2200" kern="1200" spc="-30" baseline="0">
          <a:solidFill>
            <a:schemeClr val="tx1"/>
          </a:solidFill>
          <a:latin typeface="UKCEH Suisse Semibold" panose="020B0704000000000000" pitchFamily="34" charset="-78"/>
          <a:ea typeface="+mn-ea"/>
          <a:cs typeface="UKCEH Suisse Semibold" panose="020B0704000000000000" pitchFamily="34" charset="-78"/>
        </a:defRPr>
      </a:lvl5pPr>
      <a:lvl6pPr marL="538163" indent="-27305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SzPct val="120000"/>
        <a:buFont typeface="UKCEH Suisse" panose="020B0504000000000000" pitchFamily="34" charset="-78"/>
        <a:buChar char="•"/>
        <a:defRPr sz="2200" b="0" kern="1200" spc="-20" baseline="0">
          <a:solidFill>
            <a:schemeClr val="tx1"/>
          </a:solidFill>
          <a:latin typeface="+mn-lt"/>
          <a:ea typeface="+mn-ea"/>
          <a:cs typeface="UKCEH Suisse Semibold" panose="020B0704000000000000" pitchFamily="34" charset="-78"/>
        </a:defRPr>
      </a:lvl6pPr>
      <a:lvl7pPr marL="0" indent="0" algn="l" defTabSz="914400" rtl="0" eaLnBrk="1" latinLnBrk="0" hangingPunct="1">
        <a:lnSpc>
          <a:spcPct val="90000"/>
        </a:lnSpc>
        <a:spcBef>
          <a:spcPts val="1200"/>
        </a:spcBef>
        <a:buFontTx/>
        <a:buNone/>
        <a:defRPr sz="2800" kern="1200" spc="-1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Tx/>
        <a:buNone/>
        <a:defRPr sz="2800" b="1" kern="1200" spc="-100" baseline="0">
          <a:solidFill>
            <a:schemeClr val="tx1"/>
          </a:solidFill>
          <a:latin typeface="UKCEH Suisse Semibold" panose="020B0704000000000000" pitchFamily="34" charset="-78"/>
          <a:ea typeface="+mn-ea"/>
          <a:cs typeface="UKCEH Suisse Semibold" panose="020B0704000000000000" pitchFamily="34" charset="-78"/>
        </a:defRPr>
      </a:lvl8pPr>
      <a:lvl9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272" userDrawn="1">
          <p15:clr>
            <a:srgbClr val="F26B43"/>
          </p15:clr>
        </p15:guide>
        <p15:guide id="4" pos="483" userDrawn="1">
          <p15:clr>
            <a:srgbClr val="F26B43"/>
          </p15:clr>
        </p15:guide>
        <p15:guide id="5" pos="733" userDrawn="1">
          <p15:clr>
            <a:srgbClr val="F26B43"/>
          </p15:clr>
        </p15:guide>
        <p15:guide id="6" pos="941" userDrawn="1">
          <p15:clr>
            <a:srgbClr val="F26B43"/>
          </p15:clr>
        </p15:guide>
        <p15:guide id="7" pos="1164" userDrawn="1">
          <p15:clr>
            <a:srgbClr val="F26B43"/>
          </p15:clr>
        </p15:guide>
        <p15:guide id="8" pos="1387" userDrawn="1">
          <p15:clr>
            <a:srgbClr val="F26B43"/>
          </p15:clr>
        </p15:guide>
        <p15:guide id="9" pos="1595" userDrawn="1">
          <p15:clr>
            <a:srgbClr val="F26B43"/>
          </p15:clr>
        </p15:guide>
        <p15:guide id="10" pos="1833" userDrawn="1">
          <p15:clr>
            <a:srgbClr val="F26B43"/>
          </p15:clr>
        </p15:guide>
        <p15:guide id="11" pos="2056" userDrawn="1">
          <p15:clr>
            <a:srgbClr val="F26B43"/>
          </p15:clr>
        </p15:guide>
        <p15:guide id="12" pos="2275" userDrawn="1">
          <p15:clr>
            <a:srgbClr val="F26B43"/>
          </p15:clr>
        </p15:guide>
        <p15:guide id="13" pos="2502" userDrawn="1">
          <p15:clr>
            <a:srgbClr val="F26B43"/>
          </p15:clr>
        </p15:guide>
        <p15:guide id="14" pos="2729" userDrawn="1">
          <p15:clr>
            <a:srgbClr val="F26B43"/>
          </p15:clr>
        </p15:guide>
        <p15:guide id="15" pos="2948" userDrawn="1">
          <p15:clr>
            <a:srgbClr val="F26B43"/>
          </p15:clr>
        </p15:guide>
        <p15:guide id="16" pos="3171" userDrawn="1">
          <p15:clr>
            <a:srgbClr val="F26B43"/>
          </p15:clr>
        </p15:guide>
        <p15:guide id="17" pos="3394" userDrawn="1">
          <p15:clr>
            <a:srgbClr val="F26B43"/>
          </p15:clr>
        </p15:guide>
        <p15:guide id="18" pos="3617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4062" userDrawn="1">
          <p15:clr>
            <a:srgbClr val="F26B43"/>
          </p15:clr>
        </p15:guide>
        <p15:guide id="21" pos="4285" userDrawn="1">
          <p15:clr>
            <a:srgbClr val="F26B43"/>
          </p15:clr>
        </p15:guide>
        <p15:guide id="22" pos="4508" userDrawn="1">
          <p15:clr>
            <a:srgbClr val="F26B43"/>
          </p15:clr>
        </p15:guide>
        <p15:guide id="23" pos="4731" userDrawn="1">
          <p15:clr>
            <a:srgbClr val="F26B43"/>
          </p15:clr>
        </p15:guide>
        <p15:guide id="24" pos="4954" userDrawn="1">
          <p15:clr>
            <a:srgbClr val="F26B43"/>
          </p15:clr>
        </p15:guide>
        <p15:guide id="25" pos="5201" userDrawn="1">
          <p15:clr>
            <a:srgbClr val="F26B43"/>
          </p15:clr>
        </p15:guide>
        <p15:guide id="26" pos="5400" userDrawn="1">
          <p15:clr>
            <a:srgbClr val="F26B43"/>
          </p15:clr>
        </p15:guide>
        <p15:guide id="27" pos="5623" userDrawn="1">
          <p15:clr>
            <a:srgbClr val="F26B43"/>
          </p15:clr>
        </p15:guide>
        <p15:guide id="28" pos="5846" userDrawn="1">
          <p15:clr>
            <a:srgbClr val="F26B43"/>
          </p15:clr>
        </p15:guide>
        <p15:guide id="29" pos="6069" userDrawn="1">
          <p15:clr>
            <a:srgbClr val="F26B43"/>
          </p15:clr>
        </p15:guide>
        <p15:guide id="30" pos="6292" userDrawn="1">
          <p15:clr>
            <a:srgbClr val="F26B43"/>
          </p15:clr>
        </p15:guide>
        <p15:guide id="31" pos="6515" userDrawn="1">
          <p15:clr>
            <a:srgbClr val="F26B43"/>
          </p15:clr>
        </p15:guide>
        <p15:guide id="32" pos="6738" userDrawn="1">
          <p15:clr>
            <a:srgbClr val="F26B43"/>
          </p15:clr>
        </p15:guide>
        <p15:guide id="33" pos="6961" userDrawn="1">
          <p15:clr>
            <a:srgbClr val="F26B43"/>
          </p15:clr>
        </p15:guide>
        <p15:guide id="34" pos="7184" userDrawn="1">
          <p15:clr>
            <a:srgbClr val="F26B43"/>
          </p15:clr>
        </p15:guide>
        <p15:guide id="35" pos="7407" userDrawn="1">
          <p15:clr>
            <a:srgbClr val="F26B43"/>
          </p15:clr>
        </p15:guide>
        <p15:guide id="36" orient="horz" userDrawn="1">
          <p15:clr>
            <a:srgbClr val="F26B43"/>
          </p15:clr>
        </p15:guide>
        <p15:guide id="37" orient="horz" pos="4320" userDrawn="1">
          <p15:clr>
            <a:srgbClr val="F26B43"/>
          </p15:clr>
        </p15:guide>
        <p15:guide id="38" orient="horz" pos="255" userDrawn="1">
          <p15:clr>
            <a:srgbClr val="F26B43"/>
          </p15:clr>
        </p15:guide>
        <p15:guide id="39" orient="horz" pos="481" userDrawn="1">
          <p15:clr>
            <a:srgbClr val="F26B43"/>
          </p15:clr>
        </p15:guide>
        <p15:guide id="40" orient="horz" pos="691" userDrawn="1">
          <p15:clr>
            <a:srgbClr val="F26B43"/>
          </p15:clr>
        </p15:guide>
        <p15:guide id="41" orient="horz" pos="901" userDrawn="1">
          <p15:clr>
            <a:srgbClr val="F26B43"/>
          </p15:clr>
        </p15:guide>
        <p15:guide id="42" orient="horz" pos="1111" userDrawn="1">
          <p15:clr>
            <a:srgbClr val="F26B43"/>
          </p15:clr>
        </p15:guide>
        <p15:guide id="43" orient="horz" pos="1320" userDrawn="1">
          <p15:clr>
            <a:srgbClr val="F26B43"/>
          </p15:clr>
        </p15:guide>
        <p15:guide id="44" orient="horz" pos="1530" userDrawn="1">
          <p15:clr>
            <a:srgbClr val="F26B43"/>
          </p15:clr>
        </p15:guide>
        <p15:guide id="45" orient="horz" pos="1740" userDrawn="1">
          <p15:clr>
            <a:srgbClr val="F26B43"/>
          </p15:clr>
        </p15:guide>
        <p15:guide id="46" orient="horz" pos="1950" userDrawn="1">
          <p15:clr>
            <a:srgbClr val="F26B43"/>
          </p15:clr>
        </p15:guide>
        <p15:guide id="47" orient="horz" pos="2160" userDrawn="1">
          <p15:clr>
            <a:srgbClr val="F26B43"/>
          </p15:clr>
        </p15:guide>
        <p15:guide id="48" orient="horz" pos="2369" userDrawn="1">
          <p15:clr>
            <a:srgbClr val="F26B43"/>
          </p15:clr>
        </p15:guide>
        <p15:guide id="49" orient="horz" pos="2579" userDrawn="1">
          <p15:clr>
            <a:srgbClr val="F26B43"/>
          </p15:clr>
        </p15:guide>
        <p15:guide id="50" orient="horz" pos="2789" userDrawn="1">
          <p15:clr>
            <a:srgbClr val="F26B43"/>
          </p15:clr>
        </p15:guide>
        <p15:guide id="51" orient="horz" pos="2999" userDrawn="1">
          <p15:clr>
            <a:srgbClr val="F26B43"/>
          </p15:clr>
        </p15:guide>
        <p15:guide id="52" orient="horz" pos="3208" userDrawn="1">
          <p15:clr>
            <a:srgbClr val="F26B43"/>
          </p15:clr>
        </p15:guide>
        <p15:guide id="53" orient="horz" pos="3418" userDrawn="1">
          <p15:clr>
            <a:srgbClr val="F26B43"/>
          </p15:clr>
        </p15:guide>
        <p15:guide id="54" orient="horz" pos="3628" userDrawn="1">
          <p15:clr>
            <a:srgbClr val="F26B43"/>
          </p15:clr>
        </p15:guide>
        <p15:guide id="55" orient="horz" pos="3838" userDrawn="1">
          <p15:clr>
            <a:srgbClr val="F26B43"/>
          </p15:clr>
        </p15:guide>
        <p15:guide id="56" orient="horz" pos="4047" userDrawn="1">
          <p15:clr>
            <a:srgbClr val="F26B43"/>
          </p15:clr>
        </p15:guide>
        <p15:guide id="57" pos="75" userDrawn="1">
          <p15:clr>
            <a:srgbClr val="F26B43"/>
          </p15:clr>
        </p15:guide>
        <p15:guide id="58" pos="7491" userDrawn="1">
          <p15:clr>
            <a:srgbClr val="F26B43"/>
          </p15:clr>
        </p15:guide>
        <p15:guide id="59" orient="horz" pos="73" userDrawn="1">
          <p15:clr>
            <a:srgbClr val="F26B43"/>
          </p15:clr>
        </p15:guide>
        <p15:guide id="60" orient="horz" pos="4247" userDrawn="1">
          <p15:clr>
            <a:srgbClr val="F26B43"/>
          </p15:clr>
        </p15:guide>
        <p15:guide id="61" pos="175" userDrawn="1">
          <p15:clr>
            <a:srgbClr val="F26B43"/>
          </p15:clr>
        </p15:guide>
        <p15:guide id="62" pos="7605" userDrawn="1">
          <p15:clr>
            <a:srgbClr val="F26B43"/>
          </p15:clr>
        </p15:guide>
        <p15:guide id="63" orient="horz" pos="413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A4726FD-F895-0DCB-2661-B376182C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363" y="763588"/>
            <a:ext cx="11129135" cy="465103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/>
          <a:p>
            <a:r>
              <a:rPr lang="en-US" dirty="0"/>
              <a:t>Slide Title 48pt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196227-6D01-87AC-A780-C0CDA9B1FF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799" y="2095500"/>
            <a:ext cx="11326813" cy="3663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Body Copy 22pt</a:t>
            </a:r>
          </a:p>
          <a:p>
            <a:pPr lvl="1"/>
            <a:r>
              <a:rPr lang="en-US" dirty="0"/>
              <a:t>Bullet 22pt</a:t>
            </a:r>
          </a:p>
          <a:p>
            <a:pPr lvl="2"/>
            <a:r>
              <a:rPr lang="en-US" dirty="0"/>
              <a:t>Subheading 24pt </a:t>
            </a:r>
          </a:p>
          <a:p>
            <a:pPr lvl="3"/>
            <a:r>
              <a:rPr lang="en-US" dirty="0"/>
              <a:t>Intro text 32pt </a:t>
            </a:r>
          </a:p>
          <a:p>
            <a:pPr lvl="4"/>
            <a:r>
              <a:rPr lang="en-US" dirty="0"/>
              <a:t>Bold Copy 22pt</a:t>
            </a:r>
          </a:p>
          <a:p>
            <a:pPr lvl="5"/>
            <a:r>
              <a:rPr lang="en-US" dirty="0"/>
              <a:t>Nested Bullet 22 pt</a:t>
            </a:r>
          </a:p>
          <a:p>
            <a:pPr lvl="6"/>
            <a:r>
              <a:rPr lang="en-US" dirty="0"/>
              <a:t>Key Paragraph 28pt</a:t>
            </a:r>
          </a:p>
          <a:p>
            <a:pPr lvl="7"/>
            <a:r>
              <a:rPr lang="en-US" dirty="0"/>
              <a:t>Bold Paragraph 28pt </a:t>
            </a:r>
          </a:p>
          <a:p>
            <a:pPr lvl="8"/>
            <a:r>
              <a:rPr lang="en-US" dirty="0"/>
              <a:t>Footer 14 pt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61A25-923A-3AB6-BAE1-772BE64BD2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32063" y="115887"/>
            <a:ext cx="90932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 cap="all" spc="-5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[ presentation title ]</a:t>
            </a:r>
            <a:endParaRPr lang="en-GB" sz="12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9B8D94-D66B-90F9-6A84-05282053B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8613" y="115887"/>
            <a:ext cx="288029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 sz="1200" dirty="0"/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ED03BBA4-709C-18F8-9986-55F5AEBDEA54}"/>
              </a:ext>
            </a:extLst>
          </p:cNvPr>
          <p:cNvSpPr/>
          <p:nvPr userDrawn="1"/>
        </p:nvSpPr>
        <p:spPr>
          <a:xfrm>
            <a:off x="127419" y="510307"/>
            <a:ext cx="11937387" cy="0"/>
          </a:xfrm>
          <a:custGeom>
            <a:avLst/>
            <a:gdLst/>
            <a:ahLst/>
            <a:cxnLst/>
            <a:rect l="l" t="t" r="r" b="b"/>
            <a:pathLst>
              <a:path w="19685635">
                <a:moveTo>
                  <a:pt x="0" y="0"/>
                </a:moveTo>
                <a:lnTo>
                  <a:pt x="19685264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8CBCF123-88EC-2D75-DDC2-DF654ABC1673}"/>
              </a:ext>
            </a:extLst>
          </p:cNvPr>
          <p:cNvSpPr/>
          <p:nvPr userDrawn="1"/>
        </p:nvSpPr>
        <p:spPr>
          <a:xfrm>
            <a:off x="478824" y="191457"/>
            <a:ext cx="753956" cy="175204"/>
          </a:xfrm>
          <a:custGeom>
            <a:avLst/>
            <a:gdLst/>
            <a:ahLst/>
            <a:cxnLst/>
            <a:rect l="l" t="t" r="r" b="b"/>
            <a:pathLst>
              <a:path w="1243330" h="288925">
                <a:moveTo>
                  <a:pt x="39223" y="4994"/>
                </a:moveTo>
                <a:lnTo>
                  <a:pt x="0" y="4994"/>
                </a:lnTo>
                <a:lnTo>
                  <a:pt x="0" y="170361"/>
                </a:lnTo>
                <a:lnTo>
                  <a:pt x="6495" y="225537"/>
                </a:lnTo>
                <a:lnTo>
                  <a:pt x="26582" y="262179"/>
                </a:lnTo>
                <a:lnTo>
                  <a:pt x="61163" y="282523"/>
                </a:lnTo>
                <a:lnTo>
                  <a:pt x="111137" y="288807"/>
                </a:lnTo>
                <a:lnTo>
                  <a:pt x="162919" y="281285"/>
                </a:lnTo>
                <a:lnTo>
                  <a:pt x="197719" y="258621"/>
                </a:lnTo>
                <a:lnTo>
                  <a:pt x="199605" y="254966"/>
                </a:lnTo>
                <a:lnTo>
                  <a:pt x="111137" y="254966"/>
                </a:lnTo>
                <a:lnTo>
                  <a:pt x="77840" y="250140"/>
                </a:lnTo>
                <a:lnTo>
                  <a:pt x="55571" y="235401"/>
                </a:lnTo>
                <a:lnTo>
                  <a:pt x="43106" y="210350"/>
                </a:lnTo>
                <a:lnTo>
                  <a:pt x="39223" y="174591"/>
                </a:lnTo>
                <a:lnTo>
                  <a:pt x="39223" y="4994"/>
                </a:lnTo>
                <a:close/>
              </a:path>
              <a:path w="1243330" h="288925">
                <a:moveTo>
                  <a:pt x="223438" y="4994"/>
                </a:moveTo>
                <a:lnTo>
                  <a:pt x="184214" y="4994"/>
                </a:lnTo>
                <a:lnTo>
                  <a:pt x="184214" y="170361"/>
                </a:lnTo>
                <a:lnTo>
                  <a:pt x="180314" y="206781"/>
                </a:lnTo>
                <a:lnTo>
                  <a:pt x="167725" y="233286"/>
                </a:lnTo>
                <a:lnTo>
                  <a:pt x="145111" y="249479"/>
                </a:lnTo>
                <a:lnTo>
                  <a:pt x="111137" y="254966"/>
                </a:lnTo>
                <a:lnTo>
                  <a:pt x="199605" y="254966"/>
                </a:lnTo>
                <a:lnTo>
                  <a:pt x="217302" y="220669"/>
                </a:lnTo>
                <a:lnTo>
                  <a:pt x="223438" y="167282"/>
                </a:lnTo>
                <a:lnTo>
                  <a:pt x="223438" y="4994"/>
                </a:lnTo>
                <a:close/>
              </a:path>
              <a:path w="1243330" h="288925">
                <a:moveTo>
                  <a:pt x="313037" y="4994"/>
                </a:moveTo>
                <a:lnTo>
                  <a:pt x="273813" y="4994"/>
                </a:lnTo>
                <a:lnTo>
                  <a:pt x="273813" y="283802"/>
                </a:lnTo>
                <a:lnTo>
                  <a:pt x="313037" y="283802"/>
                </a:lnTo>
                <a:lnTo>
                  <a:pt x="313037" y="196130"/>
                </a:lnTo>
                <a:lnTo>
                  <a:pt x="356879" y="147670"/>
                </a:lnTo>
                <a:lnTo>
                  <a:pt x="403714" y="147670"/>
                </a:lnTo>
                <a:lnTo>
                  <a:pt x="402092" y="145367"/>
                </a:lnTo>
                <a:lnTo>
                  <a:pt x="313037" y="145367"/>
                </a:lnTo>
                <a:lnTo>
                  <a:pt x="313037" y="4994"/>
                </a:lnTo>
                <a:close/>
              </a:path>
              <a:path w="1243330" h="288925">
                <a:moveTo>
                  <a:pt x="403714" y="147670"/>
                </a:moveTo>
                <a:lnTo>
                  <a:pt x="356879" y="147670"/>
                </a:lnTo>
                <a:lnTo>
                  <a:pt x="452635" y="283802"/>
                </a:lnTo>
                <a:lnTo>
                  <a:pt x="499555" y="283802"/>
                </a:lnTo>
                <a:lnTo>
                  <a:pt x="403714" y="147670"/>
                </a:lnTo>
                <a:close/>
              </a:path>
              <a:path w="1243330" h="288925">
                <a:moveTo>
                  <a:pt x="487639" y="4994"/>
                </a:moveTo>
                <a:lnTo>
                  <a:pt x="438792" y="4994"/>
                </a:lnTo>
                <a:lnTo>
                  <a:pt x="313037" y="145367"/>
                </a:lnTo>
                <a:lnTo>
                  <a:pt x="402092" y="145367"/>
                </a:lnTo>
                <a:lnTo>
                  <a:pt x="383412" y="118834"/>
                </a:lnTo>
                <a:lnTo>
                  <a:pt x="487639" y="4994"/>
                </a:lnTo>
                <a:close/>
              </a:path>
              <a:path w="1243330" h="288925">
                <a:moveTo>
                  <a:pt x="630692" y="0"/>
                </a:moveTo>
                <a:lnTo>
                  <a:pt x="587086" y="6688"/>
                </a:lnTo>
                <a:lnTo>
                  <a:pt x="551180" y="25818"/>
                </a:lnTo>
                <a:lnTo>
                  <a:pt x="524117" y="55986"/>
                </a:lnTo>
                <a:lnTo>
                  <a:pt x="507040" y="95790"/>
                </a:lnTo>
                <a:lnTo>
                  <a:pt x="501094" y="143828"/>
                </a:lnTo>
                <a:lnTo>
                  <a:pt x="506546" y="191167"/>
                </a:lnTo>
                <a:lnTo>
                  <a:pt x="506572" y="191394"/>
                </a:lnTo>
                <a:lnTo>
                  <a:pt x="522590" y="231410"/>
                </a:lnTo>
                <a:lnTo>
                  <a:pt x="548520" y="262141"/>
                </a:lnTo>
                <a:lnTo>
                  <a:pt x="583737" y="281852"/>
                </a:lnTo>
                <a:lnTo>
                  <a:pt x="627614" y="288807"/>
                </a:lnTo>
                <a:lnTo>
                  <a:pt x="670222" y="282799"/>
                </a:lnTo>
                <a:lnTo>
                  <a:pt x="706016" y="264965"/>
                </a:lnTo>
                <a:lnTo>
                  <a:pt x="714428" y="255740"/>
                </a:lnTo>
                <a:lnTo>
                  <a:pt x="629917" y="255740"/>
                </a:lnTo>
                <a:lnTo>
                  <a:pt x="594136" y="248205"/>
                </a:lnTo>
                <a:lnTo>
                  <a:pt x="566032" y="226320"/>
                </a:lnTo>
                <a:lnTo>
                  <a:pt x="547781" y="191394"/>
                </a:lnTo>
                <a:lnTo>
                  <a:pt x="547662" y="191167"/>
                </a:lnTo>
                <a:lnTo>
                  <a:pt x="541083" y="143828"/>
                </a:lnTo>
                <a:lnTo>
                  <a:pt x="547861" y="96019"/>
                </a:lnTo>
                <a:lnTo>
                  <a:pt x="566465" y="61334"/>
                </a:lnTo>
                <a:lnTo>
                  <a:pt x="594299" y="40206"/>
                </a:lnTo>
                <a:lnTo>
                  <a:pt x="628766" y="33067"/>
                </a:lnTo>
                <a:lnTo>
                  <a:pt x="713229" y="33067"/>
                </a:lnTo>
                <a:lnTo>
                  <a:pt x="705776" y="24564"/>
                </a:lnTo>
                <a:lnTo>
                  <a:pt x="671443" y="6279"/>
                </a:lnTo>
                <a:lnTo>
                  <a:pt x="630692" y="0"/>
                </a:lnTo>
                <a:close/>
              </a:path>
              <a:path w="1243330" h="288925">
                <a:moveTo>
                  <a:pt x="748364" y="194978"/>
                </a:moveTo>
                <a:lnTo>
                  <a:pt x="710292" y="194978"/>
                </a:lnTo>
                <a:lnTo>
                  <a:pt x="700279" y="219557"/>
                </a:lnTo>
                <a:lnTo>
                  <a:pt x="683522" y="238768"/>
                </a:lnTo>
                <a:lnTo>
                  <a:pt x="660056" y="251275"/>
                </a:lnTo>
                <a:lnTo>
                  <a:pt x="629917" y="255740"/>
                </a:lnTo>
                <a:lnTo>
                  <a:pt x="714428" y="255740"/>
                </a:lnTo>
                <a:lnTo>
                  <a:pt x="732797" y="235595"/>
                </a:lnTo>
                <a:lnTo>
                  <a:pt x="748364" y="194978"/>
                </a:lnTo>
                <a:close/>
              </a:path>
              <a:path w="1243330" h="288925">
                <a:moveTo>
                  <a:pt x="713229" y="33067"/>
                </a:moveTo>
                <a:lnTo>
                  <a:pt x="628766" y="33067"/>
                </a:lnTo>
                <a:lnTo>
                  <a:pt x="658788" y="37640"/>
                </a:lnTo>
                <a:lnTo>
                  <a:pt x="682318" y="50325"/>
                </a:lnTo>
                <a:lnTo>
                  <a:pt x="699069" y="69572"/>
                </a:lnTo>
                <a:lnTo>
                  <a:pt x="708753" y="93829"/>
                </a:lnTo>
                <a:lnTo>
                  <a:pt x="746825" y="93829"/>
                </a:lnTo>
                <a:lnTo>
                  <a:pt x="731601" y="54024"/>
                </a:lnTo>
                <a:lnTo>
                  <a:pt x="713229" y="33067"/>
                </a:lnTo>
                <a:close/>
              </a:path>
              <a:path w="1243330" h="288925">
                <a:moveTo>
                  <a:pt x="975268" y="4994"/>
                </a:moveTo>
                <a:lnTo>
                  <a:pt x="786059" y="4994"/>
                </a:lnTo>
                <a:lnTo>
                  <a:pt x="786059" y="283802"/>
                </a:lnTo>
                <a:lnTo>
                  <a:pt x="975268" y="283802"/>
                </a:lnTo>
                <a:lnTo>
                  <a:pt x="975268" y="249971"/>
                </a:lnTo>
                <a:lnTo>
                  <a:pt x="825283" y="249971"/>
                </a:lnTo>
                <a:lnTo>
                  <a:pt x="825283" y="157283"/>
                </a:lnTo>
                <a:lnTo>
                  <a:pt x="966420" y="157283"/>
                </a:lnTo>
                <a:lnTo>
                  <a:pt x="966420" y="123441"/>
                </a:lnTo>
                <a:lnTo>
                  <a:pt x="825283" y="123441"/>
                </a:lnTo>
                <a:lnTo>
                  <a:pt x="825283" y="38836"/>
                </a:lnTo>
                <a:lnTo>
                  <a:pt x="975268" y="38836"/>
                </a:lnTo>
                <a:lnTo>
                  <a:pt x="975268" y="4994"/>
                </a:lnTo>
                <a:close/>
              </a:path>
              <a:path w="1243330" h="288925">
                <a:moveTo>
                  <a:pt x="1057171" y="4994"/>
                </a:moveTo>
                <a:lnTo>
                  <a:pt x="1017948" y="4994"/>
                </a:lnTo>
                <a:lnTo>
                  <a:pt x="1017948" y="283802"/>
                </a:lnTo>
                <a:lnTo>
                  <a:pt x="1057171" y="283802"/>
                </a:lnTo>
                <a:lnTo>
                  <a:pt x="1057171" y="157283"/>
                </a:lnTo>
                <a:lnTo>
                  <a:pt x="1242925" y="157283"/>
                </a:lnTo>
                <a:lnTo>
                  <a:pt x="1242925" y="123441"/>
                </a:lnTo>
                <a:lnTo>
                  <a:pt x="1057171" y="123441"/>
                </a:lnTo>
                <a:lnTo>
                  <a:pt x="1057171" y="4994"/>
                </a:lnTo>
                <a:close/>
              </a:path>
              <a:path w="1243330" h="288925">
                <a:moveTo>
                  <a:pt x="1242925" y="157283"/>
                </a:moveTo>
                <a:lnTo>
                  <a:pt x="1203701" y="157283"/>
                </a:lnTo>
                <a:lnTo>
                  <a:pt x="1203701" y="283802"/>
                </a:lnTo>
                <a:lnTo>
                  <a:pt x="1242925" y="283802"/>
                </a:lnTo>
                <a:lnTo>
                  <a:pt x="1242925" y="157283"/>
                </a:lnTo>
                <a:close/>
              </a:path>
              <a:path w="1243330" h="288925">
                <a:moveTo>
                  <a:pt x="1242925" y="4994"/>
                </a:moveTo>
                <a:lnTo>
                  <a:pt x="1203701" y="4994"/>
                </a:lnTo>
                <a:lnTo>
                  <a:pt x="1203701" y="123441"/>
                </a:lnTo>
                <a:lnTo>
                  <a:pt x="1242925" y="123441"/>
                </a:lnTo>
                <a:lnTo>
                  <a:pt x="1242925" y="4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3" name="object 9">
            <a:extLst>
              <a:ext uri="{FF2B5EF4-FFF2-40B4-BE49-F238E27FC236}">
                <a16:creationId xmlns:a16="http://schemas.microsoft.com/office/drawing/2014/main" id="{606CEC5C-AC75-D51B-259A-62CC66B06B18}"/>
              </a:ext>
            </a:extLst>
          </p:cNvPr>
          <p:cNvSpPr/>
          <p:nvPr userDrawn="1"/>
        </p:nvSpPr>
        <p:spPr>
          <a:xfrm>
            <a:off x="143595" y="135785"/>
            <a:ext cx="288028" cy="288028"/>
          </a:xfrm>
          <a:custGeom>
            <a:avLst/>
            <a:gdLst/>
            <a:ahLst/>
            <a:cxnLst/>
            <a:rect l="l" t="t" r="r" b="b"/>
            <a:pathLst>
              <a:path w="474980" h="474980">
                <a:moveTo>
                  <a:pt x="62826" y="237299"/>
                </a:moveTo>
                <a:lnTo>
                  <a:pt x="60350" y="225069"/>
                </a:lnTo>
                <a:lnTo>
                  <a:pt x="53619" y="215087"/>
                </a:lnTo>
                <a:lnTo>
                  <a:pt x="43637" y="208356"/>
                </a:lnTo>
                <a:lnTo>
                  <a:pt x="31407" y="205879"/>
                </a:lnTo>
                <a:lnTo>
                  <a:pt x="19177" y="208356"/>
                </a:lnTo>
                <a:lnTo>
                  <a:pt x="9194" y="215087"/>
                </a:lnTo>
                <a:lnTo>
                  <a:pt x="2463" y="225069"/>
                </a:lnTo>
                <a:lnTo>
                  <a:pt x="0" y="237299"/>
                </a:lnTo>
                <a:lnTo>
                  <a:pt x="2463" y="249516"/>
                </a:lnTo>
                <a:lnTo>
                  <a:pt x="9194" y="259499"/>
                </a:lnTo>
                <a:lnTo>
                  <a:pt x="19177" y="266230"/>
                </a:lnTo>
                <a:lnTo>
                  <a:pt x="31407" y="268693"/>
                </a:lnTo>
                <a:lnTo>
                  <a:pt x="43637" y="266230"/>
                </a:lnTo>
                <a:lnTo>
                  <a:pt x="53619" y="259499"/>
                </a:lnTo>
                <a:lnTo>
                  <a:pt x="60350" y="249516"/>
                </a:lnTo>
                <a:lnTo>
                  <a:pt x="62826" y="237299"/>
                </a:lnTo>
                <a:close/>
              </a:path>
              <a:path w="474980" h="474980">
                <a:moveTo>
                  <a:pt x="90170" y="336346"/>
                </a:moveTo>
                <a:lnTo>
                  <a:pt x="86194" y="324523"/>
                </a:lnTo>
                <a:lnTo>
                  <a:pt x="77939" y="315175"/>
                </a:lnTo>
                <a:lnTo>
                  <a:pt x="67119" y="309892"/>
                </a:lnTo>
                <a:lnTo>
                  <a:pt x="55118" y="309054"/>
                </a:lnTo>
                <a:lnTo>
                  <a:pt x="43294" y="313029"/>
                </a:lnTo>
                <a:lnTo>
                  <a:pt x="33934" y="321284"/>
                </a:lnTo>
                <a:lnTo>
                  <a:pt x="28651" y="332105"/>
                </a:lnTo>
                <a:lnTo>
                  <a:pt x="27813" y="344106"/>
                </a:lnTo>
                <a:lnTo>
                  <a:pt x="31788" y="355930"/>
                </a:lnTo>
                <a:lnTo>
                  <a:pt x="40043" y="365290"/>
                </a:lnTo>
                <a:lnTo>
                  <a:pt x="50863" y="370560"/>
                </a:lnTo>
                <a:lnTo>
                  <a:pt x="62877" y="371398"/>
                </a:lnTo>
                <a:lnTo>
                  <a:pt x="74701" y="367423"/>
                </a:lnTo>
                <a:lnTo>
                  <a:pt x="84048" y="359181"/>
                </a:lnTo>
                <a:lnTo>
                  <a:pt x="89331" y="348361"/>
                </a:lnTo>
                <a:lnTo>
                  <a:pt x="90170" y="336346"/>
                </a:lnTo>
                <a:close/>
              </a:path>
              <a:path w="474980" h="474980">
                <a:moveTo>
                  <a:pt x="90170" y="138239"/>
                </a:moveTo>
                <a:lnTo>
                  <a:pt x="89331" y="126225"/>
                </a:lnTo>
                <a:lnTo>
                  <a:pt x="84048" y="115404"/>
                </a:lnTo>
                <a:lnTo>
                  <a:pt x="74701" y="107149"/>
                </a:lnTo>
                <a:lnTo>
                  <a:pt x="62877" y="103174"/>
                </a:lnTo>
                <a:lnTo>
                  <a:pt x="50863" y="104013"/>
                </a:lnTo>
                <a:lnTo>
                  <a:pt x="40043" y="109296"/>
                </a:lnTo>
                <a:lnTo>
                  <a:pt x="31800" y="118656"/>
                </a:lnTo>
                <a:lnTo>
                  <a:pt x="27813" y="130479"/>
                </a:lnTo>
                <a:lnTo>
                  <a:pt x="28651" y="142481"/>
                </a:lnTo>
                <a:lnTo>
                  <a:pt x="33934" y="153301"/>
                </a:lnTo>
                <a:lnTo>
                  <a:pt x="43281" y="161556"/>
                </a:lnTo>
                <a:lnTo>
                  <a:pt x="55105" y="165519"/>
                </a:lnTo>
                <a:lnTo>
                  <a:pt x="67119" y="164693"/>
                </a:lnTo>
                <a:lnTo>
                  <a:pt x="77939" y="159410"/>
                </a:lnTo>
                <a:lnTo>
                  <a:pt x="86194" y="150050"/>
                </a:lnTo>
                <a:lnTo>
                  <a:pt x="90170" y="138239"/>
                </a:lnTo>
                <a:close/>
              </a:path>
              <a:path w="474980" h="474980">
                <a:moveTo>
                  <a:pt x="141947" y="237286"/>
                </a:moveTo>
                <a:lnTo>
                  <a:pt x="140106" y="228117"/>
                </a:lnTo>
                <a:lnTo>
                  <a:pt x="135051" y="220637"/>
                </a:lnTo>
                <a:lnTo>
                  <a:pt x="127571" y="215582"/>
                </a:lnTo>
                <a:lnTo>
                  <a:pt x="118402" y="213741"/>
                </a:lnTo>
                <a:lnTo>
                  <a:pt x="109232" y="215582"/>
                </a:lnTo>
                <a:lnTo>
                  <a:pt x="101752" y="220637"/>
                </a:lnTo>
                <a:lnTo>
                  <a:pt x="96697" y="228117"/>
                </a:lnTo>
                <a:lnTo>
                  <a:pt x="94856" y="237286"/>
                </a:lnTo>
                <a:lnTo>
                  <a:pt x="96697" y="246456"/>
                </a:lnTo>
                <a:lnTo>
                  <a:pt x="101752" y="253949"/>
                </a:lnTo>
                <a:lnTo>
                  <a:pt x="109232" y="258991"/>
                </a:lnTo>
                <a:lnTo>
                  <a:pt x="118402" y="260845"/>
                </a:lnTo>
                <a:lnTo>
                  <a:pt x="127571" y="258991"/>
                </a:lnTo>
                <a:lnTo>
                  <a:pt x="135051" y="253949"/>
                </a:lnTo>
                <a:lnTo>
                  <a:pt x="140106" y="246456"/>
                </a:lnTo>
                <a:lnTo>
                  <a:pt x="141947" y="237286"/>
                </a:lnTo>
                <a:close/>
              </a:path>
              <a:path w="474980" h="474980">
                <a:moveTo>
                  <a:pt x="165519" y="419468"/>
                </a:moveTo>
                <a:lnTo>
                  <a:pt x="164680" y="407454"/>
                </a:lnTo>
                <a:lnTo>
                  <a:pt x="159397" y="396633"/>
                </a:lnTo>
                <a:lnTo>
                  <a:pt x="150050" y="388378"/>
                </a:lnTo>
                <a:lnTo>
                  <a:pt x="138226" y="384403"/>
                </a:lnTo>
                <a:lnTo>
                  <a:pt x="126212" y="385241"/>
                </a:lnTo>
                <a:lnTo>
                  <a:pt x="115392" y="390525"/>
                </a:lnTo>
                <a:lnTo>
                  <a:pt x="107149" y="399884"/>
                </a:lnTo>
                <a:lnTo>
                  <a:pt x="103174" y="411708"/>
                </a:lnTo>
                <a:lnTo>
                  <a:pt x="104013" y="423710"/>
                </a:lnTo>
                <a:lnTo>
                  <a:pt x="109296" y="434530"/>
                </a:lnTo>
                <a:lnTo>
                  <a:pt x="118643" y="442785"/>
                </a:lnTo>
                <a:lnTo>
                  <a:pt x="130467" y="446760"/>
                </a:lnTo>
                <a:lnTo>
                  <a:pt x="142481" y="445922"/>
                </a:lnTo>
                <a:lnTo>
                  <a:pt x="153301" y="440639"/>
                </a:lnTo>
                <a:lnTo>
                  <a:pt x="161544" y="431292"/>
                </a:lnTo>
                <a:lnTo>
                  <a:pt x="165519" y="419468"/>
                </a:lnTo>
                <a:close/>
              </a:path>
              <a:path w="474980" h="474980">
                <a:moveTo>
                  <a:pt x="165519" y="55118"/>
                </a:moveTo>
                <a:lnTo>
                  <a:pt x="161544" y="43294"/>
                </a:lnTo>
                <a:lnTo>
                  <a:pt x="153301" y="33947"/>
                </a:lnTo>
                <a:lnTo>
                  <a:pt x="142481" y="28663"/>
                </a:lnTo>
                <a:lnTo>
                  <a:pt x="130467" y="27825"/>
                </a:lnTo>
                <a:lnTo>
                  <a:pt x="118643" y="31800"/>
                </a:lnTo>
                <a:lnTo>
                  <a:pt x="109296" y="40043"/>
                </a:lnTo>
                <a:lnTo>
                  <a:pt x="104013" y="50876"/>
                </a:lnTo>
                <a:lnTo>
                  <a:pt x="103174" y="62890"/>
                </a:lnTo>
                <a:lnTo>
                  <a:pt x="107149" y="74714"/>
                </a:lnTo>
                <a:lnTo>
                  <a:pt x="115404" y="84061"/>
                </a:lnTo>
                <a:lnTo>
                  <a:pt x="126212" y="89331"/>
                </a:lnTo>
                <a:lnTo>
                  <a:pt x="138226" y="90170"/>
                </a:lnTo>
                <a:lnTo>
                  <a:pt x="150050" y="86194"/>
                </a:lnTo>
                <a:lnTo>
                  <a:pt x="159410" y="77952"/>
                </a:lnTo>
                <a:lnTo>
                  <a:pt x="164680" y="67132"/>
                </a:lnTo>
                <a:lnTo>
                  <a:pt x="165519" y="55118"/>
                </a:lnTo>
                <a:close/>
              </a:path>
              <a:path w="474980" h="474980">
                <a:moveTo>
                  <a:pt x="176771" y="321348"/>
                </a:moveTo>
                <a:lnTo>
                  <a:pt x="175056" y="312483"/>
                </a:lnTo>
                <a:lnTo>
                  <a:pt x="169875" y="304698"/>
                </a:lnTo>
                <a:lnTo>
                  <a:pt x="162077" y="299529"/>
                </a:lnTo>
                <a:lnTo>
                  <a:pt x="153225" y="297802"/>
                </a:lnTo>
                <a:lnTo>
                  <a:pt x="144360" y="299529"/>
                </a:lnTo>
                <a:lnTo>
                  <a:pt x="136563" y="304698"/>
                </a:lnTo>
                <a:lnTo>
                  <a:pt x="131394" y="312483"/>
                </a:lnTo>
                <a:lnTo>
                  <a:pt x="129667" y="321348"/>
                </a:lnTo>
                <a:lnTo>
                  <a:pt x="131394" y="330212"/>
                </a:lnTo>
                <a:lnTo>
                  <a:pt x="136563" y="338010"/>
                </a:lnTo>
                <a:lnTo>
                  <a:pt x="144360" y="343179"/>
                </a:lnTo>
                <a:lnTo>
                  <a:pt x="153225" y="344906"/>
                </a:lnTo>
                <a:lnTo>
                  <a:pt x="162077" y="343179"/>
                </a:lnTo>
                <a:lnTo>
                  <a:pt x="169875" y="338010"/>
                </a:lnTo>
                <a:lnTo>
                  <a:pt x="175056" y="330212"/>
                </a:lnTo>
                <a:lnTo>
                  <a:pt x="176771" y="321348"/>
                </a:lnTo>
                <a:close/>
              </a:path>
              <a:path w="474980" h="474980">
                <a:moveTo>
                  <a:pt x="176784" y="153225"/>
                </a:moveTo>
                <a:lnTo>
                  <a:pt x="175056" y="144360"/>
                </a:lnTo>
                <a:lnTo>
                  <a:pt x="169875" y="136575"/>
                </a:lnTo>
                <a:lnTo>
                  <a:pt x="162090" y="131394"/>
                </a:lnTo>
                <a:lnTo>
                  <a:pt x="153225" y="129679"/>
                </a:lnTo>
                <a:lnTo>
                  <a:pt x="144360" y="131394"/>
                </a:lnTo>
                <a:lnTo>
                  <a:pt x="136575" y="136575"/>
                </a:lnTo>
                <a:lnTo>
                  <a:pt x="131394" y="144360"/>
                </a:lnTo>
                <a:lnTo>
                  <a:pt x="129667" y="153225"/>
                </a:lnTo>
                <a:lnTo>
                  <a:pt x="131394" y="162090"/>
                </a:lnTo>
                <a:lnTo>
                  <a:pt x="136575" y="169875"/>
                </a:lnTo>
                <a:lnTo>
                  <a:pt x="144360" y="175056"/>
                </a:lnTo>
                <a:lnTo>
                  <a:pt x="153225" y="176784"/>
                </a:lnTo>
                <a:lnTo>
                  <a:pt x="162090" y="175056"/>
                </a:lnTo>
                <a:lnTo>
                  <a:pt x="169875" y="169875"/>
                </a:lnTo>
                <a:lnTo>
                  <a:pt x="175056" y="162090"/>
                </a:lnTo>
                <a:lnTo>
                  <a:pt x="176784" y="153225"/>
                </a:lnTo>
                <a:close/>
              </a:path>
              <a:path w="474980" h="474980">
                <a:moveTo>
                  <a:pt x="209016" y="261874"/>
                </a:moveTo>
                <a:lnTo>
                  <a:pt x="201853" y="249478"/>
                </a:lnTo>
                <a:lnTo>
                  <a:pt x="193941" y="247357"/>
                </a:lnTo>
                <a:lnTo>
                  <a:pt x="187744" y="250939"/>
                </a:lnTo>
                <a:lnTo>
                  <a:pt x="181546" y="254520"/>
                </a:lnTo>
                <a:lnTo>
                  <a:pt x="179412" y="262432"/>
                </a:lnTo>
                <a:lnTo>
                  <a:pt x="186575" y="274828"/>
                </a:lnTo>
                <a:lnTo>
                  <a:pt x="194500" y="276961"/>
                </a:lnTo>
                <a:lnTo>
                  <a:pt x="206895" y="269798"/>
                </a:lnTo>
                <a:lnTo>
                  <a:pt x="209016" y="261874"/>
                </a:lnTo>
                <a:close/>
              </a:path>
              <a:path w="474980" h="474980">
                <a:moveTo>
                  <a:pt x="209016" y="212699"/>
                </a:moveTo>
                <a:lnTo>
                  <a:pt x="206895" y="204787"/>
                </a:lnTo>
                <a:lnTo>
                  <a:pt x="200698" y="201206"/>
                </a:lnTo>
                <a:lnTo>
                  <a:pt x="194500" y="197624"/>
                </a:lnTo>
                <a:lnTo>
                  <a:pt x="186575" y="199745"/>
                </a:lnTo>
                <a:lnTo>
                  <a:pt x="179425" y="212153"/>
                </a:lnTo>
                <a:lnTo>
                  <a:pt x="181546" y="220078"/>
                </a:lnTo>
                <a:lnTo>
                  <a:pt x="193941" y="227228"/>
                </a:lnTo>
                <a:lnTo>
                  <a:pt x="201853" y="225107"/>
                </a:lnTo>
                <a:lnTo>
                  <a:pt x="209016" y="212699"/>
                </a:lnTo>
                <a:close/>
              </a:path>
              <a:path w="474980" h="474980">
                <a:moveTo>
                  <a:pt x="250240" y="279869"/>
                </a:moveTo>
                <a:lnTo>
                  <a:pt x="244449" y="274066"/>
                </a:lnTo>
                <a:lnTo>
                  <a:pt x="230136" y="274066"/>
                </a:lnTo>
                <a:lnTo>
                  <a:pt x="224332" y="279869"/>
                </a:lnTo>
                <a:lnTo>
                  <a:pt x="224332" y="287020"/>
                </a:lnTo>
                <a:lnTo>
                  <a:pt x="224332" y="294170"/>
                </a:lnTo>
                <a:lnTo>
                  <a:pt x="230136" y="299974"/>
                </a:lnTo>
                <a:lnTo>
                  <a:pt x="244449" y="299974"/>
                </a:lnTo>
                <a:lnTo>
                  <a:pt x="250240" y="294170"/>
                </a:lnTo>
                <a:lnTo>
                  <a:pt x="250240" y="279869"/>
                </a:lnTo>
                <a:close/>
              </a:path>
              <a:path w="474980" h="474980">
                <a:moveTo>
                  <a:pt x="250240" y="180416"/>
                </a:moveTo>
                <a:lnTo>
                  <a:pt x="244436" y="174612"/>
                </a:lnTo>
                <a:lnTo>
                  <a:pt x="230124" y="174612"/>
                </a:lnTo>
                <a:lnTo>
                  <a:pt x="224332" y="180416"/>
                </a:lnTo>
                <a:lnTo>
                  <a:pt x="224332" y="194716"/>
                </a:lnTo>
                <a:lnTo>
                  <a:pt x="230124" y="200520"/>
                </a:lnTo>
                <a:lnTo>
                  <a:pt x="244436" y="200520"/>
                </a:lnTo>
                <a:lnTo>
                  <a:pt x="250240" y="194716"/>
                </a:lnTo>
                <a:lnTo>
                  <a:pt x="250240" y="187566"/>
                </a:lnTo>
                <a:lnTo>
                  <a:pt x="250240" y="180416"/>
                </a:lnTo>
                <a:close/>
              </a:path>
              <a:path w="474980" h="474980">
                <a:moveTo>
                  <a:pt x="260832" y="356171"/>
                </a:moveTo>
                <a:lnTo>
                  <a:pt x="258991" y="347002"/>
                </a:lnTo>
                <a:lnTo>
                  <a:pt x="253936" y="339521"/>
                </a:lnTo>
                <a:lnTo>
                  <a:pt x="246456" y="334479"/>
                </a:lnTo>
                <a:lnTo>
                  <a:pt x="237274" y="332625"/>
                </a:lnTo>
                <a:lnTo>
                  <a:pt x="228117" y="334479"/>
                </a:lnTo>
                <a:lnTo>
                  <a:pt x="220624" y="339521"/>
                </a:lnTo>
                <a:lnTo>
                  <a:pt x="215582" y="347002"/>
                </a:lnTo>
                <a:lnTo>
                  <a:pt x="213728" y="356171"/>
                </a:lnTo>
                <a:lnTo>
                  <a:pt x="215582" y="365340"/>
                </a:lnTo>
                <a:lnTo>
                  <a:pt x="220624" y="372833"/>
                </a:lnTo>
                <a:lnTo>
                  <a:pt x="228117" y="377875"/>
                </a:lnTo>
                <a:lnTo>
                  <a:pt x="237274" y="379717"/>
                </a:lnTo>
                <a:lnTo>
                  <a:pt x="246456" y="377875"/>
                </a:lnTo>
                <a:lnTo>
                  <a:pt x="253936" y="372833"/>
                </a:lnTo>
                <a:lnTo>
                  <a:pt x="258991" y="365340"/>
                </a:lnTo>
                <a:lnTo>
                  <a:pt x="260832" y="356171"/>
                </a:lnTo>
                <a:close/>
              </a:path>
              <a:path w="474980" h="474980">
                <a:moveTo>
                  <a:pt x="260845" y="118402"/>
                </a:moveTo>
                <a:lnTo>
                  <a:pt x="258991" y="109245"/>
                </a:lnTo>
                <a:lnTo>
                  <a:pt x="253936" y="101752"/>
                </a:lnTo>
                <a:lnTo>
                  <a:pt x="246456" y="96710"/>
                </a:lnTo>
                <a:lnTo>
                  <a:pt x="237286" y="94856"/>
                </a:lnTo>
                <a:lnTo>
                  <a:pt x="228117" y="96710"/>
                </a:lnTo>
                <a:lnTo>
                  <a:pt x="220637" y="101752"/>
                </a:lnTo>
                <a:lnTo>
                  <a:pt x="215582" y="109245"/>
                </a:lnTo>
                <a:lnTo>
                  <a:pt x="213728" y="118402"/>
                </a:lnTo>
                <a:lnTo>
                  <a:pt x="215582" y="127584"/>
                </a:lnTo>
                <a:lnTo>
                  <a:pt x="220637" y="135064"/>
                </a:lnTo>
                <a:lnTo>
                  <a:pt x="228117" y="140119"/>
                </a:lnTo>
                <a:lnTo>
                  <a:pt x="237286" y="141960"/>
                </a:lnTo>
                <a:lnTo>
                  <a:pt x="246456" y="140119"/>
                </a:lnTo>
                <a:lnTo>
                  <a:pt x="253936" y="135064"/>
                </a:lnTo>
                <a:lnTo>
                  <a:pt x="258991" y="127584"/>
                </a:lnTo>
                <a:lnTo>
                  <a:pt x="260845" y="118402"/>
                </a:lnTo>
                <a:close/>
              </a:path>
              <a:path w="474980" h="474980">
                <a:moveTo>
                  <a:pt x="268693" y="443166"/>
                </a:moveTo>
                <a:lnTo>
                  <a:pt x="266230" y="430936"/>
                </a:lnTo>
                <a:lnTo>
                  <a:pt x="259499" y="420954"/>
                </a:lnTo>
                <a:lnTo>
                  <a:pt x="249516" y="414223"/>
                </a:lnTo>
                <a:lnTo>
                  <a:pt x="237286" y="411746"/>
                </a:lnTo>
                <a:lnTo>
                  <a:pt x="225069" y="414223"/>
                </a:lnTo>
                <a:lnTo>
                  <a:pt x="215074" y="420954"/>
                </a:lnTo>
                <a:lnTo>
                  <a:pt x="208343" y="430936"/>
                </a:lnTo>
                <a:lnTo>
                  <a:pt x="205879" y="443166"/>
                </a:lnTo>
                <a:lnTo>
                  <a:pt x="208343" y="455396"/>
                </a:lnTo>
                <a:lnTo>
                  <a:pt x="215074" y="465378"/>
                </a:lnTo>
                <a:lnTo>
                  <a:pt x="225069" y="472109"/>
                </a:lnTo>
                <a:lnTo>
                  <a:pt x="237286" y="474573"/>
                </a:lnTo>
                <a:lnTo>
                  <a:pt x="249516" y="472109"/>
                </a:lnTo>
                <a:lnTo>
                  <a:pt x="259499" y="465378"/>
                </a:lnTo>
                <a:lnTo>
                  <a:pt x="266230" y="455396"/>
                </a:lnTo>
                <a:lnTo>
                  <a:pt x="268693" y="443166"/>
                </a:lnTo>
                <a:close/>
              </a:path>
              <a:path w="474980" h="474980">
                <a:moveTo>
                  <a:pt x="268693" y="31419"/>
                </a:moveTo>
                <a:lnTo>
                  <a:pt x="266230" y="19189"/>
                </a:lnTo>
                <a:lnTo>
                  <a:pt x="259486" y="9207"/>
                </a:lnTo>
                <a:lnTo>
                  <a:pt x="249504" y="2476"/>
                </a:lnTo>
                <a:lnTo>
                  <a:pt x="237274" y="0"/>
                </a:lnTo>
                <a:lnTo>
                  <a:pt x="225056" y="2476"/>
                </a:lnTo>
                <a:lnTo>
                  <a:pt x="215074" y="9207"/>
                </a:lnTo>
                <a:lnTo>
                  <a:pt x="208343" y="19189"/>
                </a:lnTo>
                <a:lnTo>
                  <a:pt x="205879" y="31419"/>
                </a:lnTo>
                <a:lnTo>
                  <a:pt x="208343" y="43649"/>
                </a:lnTo>
                <a:lnTo>
                  <a:pt x="215074" y="53632"/>
                </a:lnTo>
                <a:lnTo>
                  <a:pt x="225056" y="60363"/>
                </a:lnTo>
                <a:lnTo>
                  <a:pt x="237274" y="62826"/>
                </a:lnTo>
                <a:lnTo>
                  <a:pt x="249504" y="60363"/>
                </a:lnTo>
                <a:lnTo>
                  <a:pt x="259486" y="53632"/>
                </a:lnTo>
                <a:lnTo>
                  <a:pt x="266230" y="43649"/>
                </a:lnTo>
                <a:lnTo>
                  <a:pt x="268693" y="31419"/>
                </a:lnTo>
                <a:close/>
              </a:path>
              <a:path w="474980" h="474980">
                <a:moveTo>
                  <a:pt x="295148" y="262432"/>
                </a:moveTo>
                <a:lnTo>
                  <a:pt x="293027" y="254508"/>
                </a:lnTo>
                <a:lnTo>
                  <a:pt x="280631" y="247357"/>
                </a:lnTo>
                <a:lnTo>
                  <a:pt x="272707" y="249478"/>
                </a:lnTo>
                <a:lnTo>
                  <a:pt x="265544" y="261874"/>
                </a:lnTo>
                <a:lnTo>
                  <a:pt x="267677" y="269798"/>
                </a:lnTo>
                <a:lnTo>
                  <a:pt x="273875" y="273380"/>
                </a:lnTo>
                <a:lnTo>
                  <a:pt x="280073" y="276961"/>
                </a:lnTo>
                <a:lnTo>
                  <a:pt x="287985" y="274828"/>
                </a:lnTo>
                <a:lnTo>
                  <a:pt x="295148" y="262432"/>
                </a:lnTo>
                <a:close/>
              </a:path>
              <a:path w="474980" h="474980">
                <a:moveTo>
                  <a:pt x="295148" y="212153"/>
                </a:moveTo>
                <a:lnTo>
                  <a:pt x="287985" y="199758"/>
                </a:lnTo>
                <a:lnTo>
                  <a:pt x="280073" y="197624"/>
                </a:lnTo>
                <a:lnTo>
                  <a:pt x="267677" y="204774"/>
                </a:lnTo>
                <a:lnTo>
                  <a:pt x="265557" y="212699"/>
                </a:lnTo>
                <a:lnTo>
                  <a:pt x="272707" y="225107"/>
                </a:lnTo>
                <a:lnTo>
                  <a:pt x="280631" y="227228"/>
                </a:lnTo>
                <a:lnTo>
                  <a:pt x="286829" y="223647"/>
                </a:lnTo>
                <a:lnTo>
                  <a:pt x="293027" y="220065"/>
                </a:lnTo>
                <a:lnTo>
                  <a:pt x="295148" y="212153"/>
                </a:lnTo>
                <a:close/>
              </a:path>
              <a:path w="474980" h="474980">
                <a:moveTo>
                  <a:pt x="344893" y="153225"/>
                </a:moveTo>
                <a:lnTo>
                  <a:pt x="343179" y="144360"/>
                </a:lnTo>
                <a:lnTo>
                  <a:pt x="338010" y="136575"/>
                </a:lnTo>
                <a:lnTo>
                  <a:pt x="330212" y="131394"/>
                </a:lnTo>
                <a:lnTo>
                  <a:pt x="321348" y="129667"/>
                </a:lnTo>
                <a:lnTo>
                  <a:pt x="312483" y="131394"/>
                </a:lnTo>
                <a:lnTo>
                  <a:pt x="304698" y="136575"/>
                </a:lnTo>
                <a:lnTo>
                  <a:pt x="299516" y="144360"/>
                </a:lnTo>
                <a:lnTo>
                  <a:pt x="297789" y="153225"/>
                </a:lnTo>
                <a:lnTo>
                  <a:pt x="299516" y="162090"/>
                </a:lnTo>
                <a:lnTo>
                  <a:pt x="304698" y="169887"/>
                </a:lnTo>
                <a:lnTo>
                  <a:pt x="312483" y="175056"/>
                </a:lnTo>
                <a:lnTo>
                  <a:pt x="321348" y="176784"/>
                </a:lnTo>
                <a:lnTo>
                  <a:pt x="330212" y="175056"/>
                </a:lnTo>
                <a:lnTo>
                  <a:pt x="338010" y="169887"/>
                </a:lnTo>
                <a:lnTo>
                  <a:pt x="343179" y="162090"/>
                </a:lnTo>
                <a:lnTo>
                  <a:pt x="344893" y="153225"/>
                </a:lnTo>
                <a:close/>
              </a:path>
              <a:path w="474980" h="474980">
                <a:moveTo>
                  <a:pt x="344906" y="321348"/>
                </a:moveTo>
                <a:lnTo>
                  <a:pt x="343179" y="312496"/>
                </a:lnTo>
                <a:lnTo>
                  <a:pt x="337997" y="304698"/>
                </a:lnTo>
                <a:lnTo>
                  <a:pt x="330212" y="299529"/>
                </a:lnTo>
                <a:lnTo>
                  <a:pt x="321348" y="297802"/>
                </a:lnTo>
                <a:lnTo>
                  <a:pt x="312483" y="299529"/>
                </a:lnTo>
                <a:lnTo>
                  <a:pt x="304698" y="304698"/>
                </a:lnTo>
                <a:lnTo>
                  <a:pt x="299516" y="312496"/>
                </a:lnTo>
                <a:lnTo>
                  <a:pt x="297802" y="321348"/>
                </a:lnTo>
                <a:lnTo>
                  <a:pt x="299516" y="330212"/>
                </a:lnTo>
                <a:lnTo>
                  <a:pt x="304698" y="338010"/>
                </a:lnTo>
                <a:lnTo>
                  <a:pt x="312483" y="343179"/>
                </a:lnTo>
                <a:lnTo>
                  <a:pt x="321348" y="344906"/>
                </a:lnTo>
                <a:lnTo>
                  <a:pt x="330212" y="343179"/>
                </a:lnTo>
                <a:lnTo>
                  <a:pt x="337997" y="338010"/>
                </a:lnTo>
                <a:lnTo>
                  <a:pt x="343179" y="330212"/>
                </a:lnTo>
                <a:lnTo>
                  <a:pt x="344906" y="321348"/>
                </a:lnTo>
                <a:close/>
              </a:path>
              <a:path w="474980" h="474980">
                <a:moveTo>
                  <a:pt x="371398" y="411695"/>
                </a:moveTo>
                <a:lnTo>
                  <a:pt x="367423" y="399872"/>
                </a:lnTo>
                <a:lnTo>
                  <a:pt x="359168" y="390525"/>
                </a:lnTo>
                <a:lnTo>
                  <a:pt x="348348" y="385241"/>
                </a:lnTo>
                <a:lnTo>
                  <a:pt x="336346" y="384403"/>
                </a:lnTo>
                <a:lnTo>
                  <a:pt x="324523" y="388391"/>
                </a:lnTo>
                <a:lnTo>
                  <a:pt x="315163" y="396633"/>
                </a:lnTo>
                <a:lnTo>
                  <a:pt x="309880" y="407454"/>
                </a:lnTo>
                <a:lnTo>
                  <a:pt x="309054" y="419468"/>
                </a:lnTo>
                <a:lnTo>
                  <a:pt x="313016" y="431292"/>
                </a:lnTo>
                <a:lnTo>
                  <a:pt x="321271" y="440639"/>
                </a:lnTo>
                <a:lnTo>
                  <a:pt x="332092" y="445922"/>
                </a:lnTo>
                <a:lnTo>
                  <a:pt x="344106" y="446760"/>
                </a:lnTo>
                <a:lnTo>
                  <a:pt x="355917" y="442785"/>
                </a:lnTo>
                <a:lnTo>
                  <a:pt x="365277" y="434530"/>
                </a:lnTo>
                <a:lnTo>
                  <a:pt x="370560" y="423710"/>
                </a:lnTo>
                <a:lnTo>
                  <a:pt x="371398" y="411695"/>
                </a:lnTo>
                <a:close/>
              </a:path>
              <a:path w="474980" h="474980">
                <a:moveTo>
                  <a:pt x="371398" y="62877"/>
                </a:moveTo>
                <a:lnTo>
                  <a:pt x="370560" y="50863"/>
                </a:lnTo>
                <a:lnTo>
                  <a:pt x="365277" y="40055"/>
                </a:lnTo>
                <a:lnTo>
                  <a:pt x="355930" y="31800"/>
                </a:lnTo>
                <a:lnTo>
                  <a:pt x="344106" y="27825"/>
                </a:lnTo>
                <a:lnTo>
                  <a:pt x="332092" y="28663"/>
                </a:lnTo>
                <a:lnTo>
                  <a:pt x="321271" y="33934"/>
                </a:lnTo>
                <a:lnTo>
                  <a:pt x="313029" y="43294"/>
                </a:lnTo>
                <a:lnTo>
                  <a:pt x="309054" y="55118"/>
                </a:lnTo>
                <a:lnTo>
                  <a:pt x="309892" y="67132"/>
                </a:lnTo>
                <a:lnTo>
                  <a:pt x="315163" y="77952"/>
                </a:lnTo>
                <a:lnTo>
                  <a:pt x="324523" y="86194"/>
                </a:lnTo>
                <a:lnTo>
                  <a:pt x="336346" y="90170"/>
                </a:lnTo>
                <a:lnTo>
                  <a:pt x="348348" y="89331"/>
                </a:lnTo>
                <a:lnTo>
                  <a:pt x="359168" y="84061"/>
                </a:lnTo>
                <a:lnTo>
                  <a:pt x="367423" y="74701"/>
                </a:lnTo>
                <a:lnTo>
                  <a:pt x="371398" y="62877"/>
                </a:lnTo>
                <a:close/>
              </a:path>
              <a:path w="474980" h="474980">
                <a:moveTo>
                  <a:pt x="379717" y="237286"/>
                </a:moveTo>
                <a:lnTo>
                  <a:pt x="377863" y="228117"/>
                </a:lnTo>
                <a:lnTo>
                  <a:pt x="372821" y="220637"/>
                </a:lnTo>
                <a:lnTo>
                  <a:pt x="365340" y="215582"/>
                </a:lnTo>
                <a:lnTo>
                  <a:pt x="356171" y="213741"/>
                </a:lnTo>
                <a:lnTo>
                  <a:pt x="347002" y="215582"/>
                </a:lnTo>
                <a:lnTo>
                  <a:pt x="339509" y="220637"/>
                </a:lnTo>
                <a:lnTo>
                  <a:pt x="334467" y="228117"/>
                </a:lnTo>
                <a:lnTo>
                  <a:pt x="332625" y="237286"/>
                </a:lnTo>
                <a:lnTo>
                  <a:pt x="334467" y="246456"/>
                </a:lnTo>
                <a:lnTo>
                  <a:pt x="339509" y="253949"/>
                </a:lnTo>
                <a:lnTo>
                  <a:pt x="347002" y="258991"/>
                </a:lnTo>
                <a:lnTo>
                  <a:pt x="356171" y="260845"/>
                </a:lnTo>
                <a:lnTo>
                  <a:pt x="365340" y="258991"/>
                </a:lnTo>
                <a:lnTo>
                  <a:pt x="372821" y="253949"/>
                </a:lnTo>
                <a:lnTo>
                  <a:pt x="377863" y="246456"/>
                </a:lnTo>
                <a:lnTo>
                  <a:pt x="379717" y="237286"/>
                </a:lnTo>
                <a:close/>
              </a:path>
              <a:path w="474980" h="474980">
                <a:moveTo>
                  <a:pt x="446747" y="344106"/>
                </a:moveTo>
                <a:lnTo>
                  <a:pt x="445909" y="332092"/>
                </a:lnTo>
                <a:lnTo>
                  <a:pt x="440639" y="321284"/>
                </a:lnTo>
                <a:lnTo>
                  <a:pt x="431292" y="313029"/>
                </a:lnTo>
                <a:lnTo>
                  <a:pt x="419468" y="309054"/>
                </a:lnTo>
                <a:lnTo>
                  <a:pt x="407454" y="309892"/>
                </a:lnTo>
                <a:lnTo>
                  <a:pt x="396621" y="315175"/>
                </a:lnTo>
                <a:lnTo>
                  <a:pt x="388378" y="324523"/>
                </a:lnTo>
                <a:lnTo>
                  <a:pt x="384403" y="336346"/>
                </a:lnTo>
                <a:lnTo>
                  <a:pt x="385241" y="348361"/>
                </a:lnTo>
                <a:lnTo>
                  <a:pt x="390525" y="359181"/>
                </a:lnTo>
                <a:lnTo>
                  <a:pt x="399872" y="367423"/>
                </a:lnTo>
                <a:lnTo>
                  <a:pt x="411695" y="371398"/>
                </a:lnTo>
                <a:lnTo>
                  <a:pt x="423710" y="370560"/>
                </a:lnTo>
                <a:lnTo>
                  <a:pt x="434530" y="365290"/>
                </a:lnTo>
                <a:lnTo>
                  <a:pt x="442772" y="355930"/>
                </a:lnTo>
                <a:lnTo>
                  <a:pt x="446747" y="344106"/>
                </a:lnTo>
                <a:close/>
              </a:path>
              <a:path w="474980" h="474980">
                <a:moveTo>
                  <a:pt x="446747" y="130467"/>
                </a:moveTo>
                <a:lnTo>
                  <a:pt x="442772" y="118656"/>
                </a:lnTo>
                <a:lnTo>
                  <a:pt x="434530" y="109296"/>
                </a:lnTo>
                <a:lnTo>
                  <a:pt x="423710" y="104025"/>
                </a:lnTo>
                <a:lnTo>
                  <a:pt x="411695" y="103187"/>
                </a:lnTo>
                <a:lnTo>
                  <a:pt x="399872" y="107162"/>
                </a:lnTo>
                <a:lnTo>
                  <a:pt x="390525" y="115404"/>
                </a:lnTo>
                <a:lnTo>
                  <a:pt x="385241" y="126225"/>
                </a:lnTo>
                <a:lnTo>
                  <a:pt x="384403" y="138239"/>
                </a:lnTo>
                <a:lnTo>
                  <a:pt x="388378" y="150050"/>
                </a:lnTo>
                <a:lnTo>
                  <a:pt x="396633" y="159410"/>
                </a:lnTo>
                <a:lnTo>
                  <a:pt x="407454" y="164693"/>
                </a:lnTo>
                <a:lnTo>
                  <a:pt x="419455" y="165531"/>
                </a:lnTo>
                <a:lnTo>
                  <a:pt x="431279" y="161556"/>
                </a:lnTo>
                <a:lnTo>
                  <a:pt x="440639" y="153301"/>
                </a:lnTo>
                <a:lnTo>
                  <a:pt x="445909" y="142481"/>
                </a:lnTo>
                <a:lnTo>
                  <a:pt x="446747" y="130467"/>
                </a:lnTo>
                <a:close/>
              </a:path>
              <a:path w="474980" h="474980">
                <a:moveTo>
                  <a:pt x="474573" y="237286"/>
                </a:moveTo>
                <a:lnTo>
                  <a:pt x="472109" y="225069"/>
                </a:lnTo>
                <a:lnTo>
                  <a:pt x="465366" y="215087"/>
                </a:lnTo>
                <a:lnTo>
                  <a:pt x="455383" y="208356"/>
                </a:lnTo>
                <a:lnTo>
                  <a:pt x="443153" y="205879"/>
                </a:lnTo>
                <a:lnTo>
                  <a:pt x="430936" y="208356"/>
                </a:lnTo>
                <a:lnTo>
                  <a:pt x="420941" y="215087"/>
                </a:lnTo>
                <a:lnTo>
                  <a:pt x="414210" y="225069"/>
                </a:lnTo>
                <a:lnTo>
                  <a:pt x="411746" y="237286"/>
                </a:lnTo>
                <a:lnTo>
                  <a:pt x="414210" y="249516"/>
                </a:lnTo>
                <a:lnTo>
                  <a:pt x="420941" y="259499"/>
                </a:lnTo>
                <a:lnTo>
                  <a:pt x="430936" y="266230"/>
                </a:lnTo>
                <a:lnTo>
                  <a:pt x="443153" y="268693"/>
                </a:lnTo>
                <a:lnTo>
                  <a:pt x="455383" y="266230"/>
                </a:lnTo>
                <a:lnTo>
                  <a:pt x="465366" y="259499"/>
                </a:lnTo>
                <a:lnTo>
                  <a:pt x="472109" y="249516"/>
                </a:lnTo>
                <a:lnTo>
                  <a:pt x="474573" y="2372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6EB88D0-3B11-9E92-8030-EF1C29D13FB2}"/>
              </a:ext>
            </a:extLst>
          </p:cNvPr>
          <p:cNvGrpSpPr/>
          <p:nvPr userDrawn="1"/>
        </p:nvGrpSpPr>
        <p:grpSpPr>
          <a:xfrm>
            <a:off x="120673" y="601896"/>
            <a:ext cx="11959457" cy="6138058"/>
            <a:chOff x="120673" y="601896"/>
            <a:chExt cx="11959457" cy="6138058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BC947ED-7225-A031-4C47-B0666B5CBC08}"/>
                </a:ext>
              </a:extLst>
            </p:cNvPr>
            <p:cNvGrpSpPr/>
            <p:nvPr userDrawn="1"/>
          </p:nvGrpSpPr>
          <p:grpSpPr>
            <a:xfrm>
              <a:off x="120673" y="601896"/>
              <a:ext cx="60193" cy="6138058"/>
              <a:chOff x="120673" y="601896"/>
              <a:chExt cx="60193" cy="6138058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B36ADE89-6384-C311-D887-CEEDC30F65C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D632B3A6-E4D7-9AAF-A3D7-55DB24FF82B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BE732F3A-4421-DD93-7774-1BD7F663BEB7}"/>
                </a:ext>
              </a:extLst>
            </p:cNvPr>
            <p:cNvGrpSpPr/>
            <p:nvPr userDrawn="1"/>
          </p:nvGrpSpPr>
          <p:grpSpPr>
            <a:xfrm>
              <a:off x="12019937" y="601896"/>
              <a:ext cx="60193" cy="6138058"/>
              <a:chOff x="120673" y="601896"/>
              <a:chExt cx="60193" cy="6138058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00EC37CE-0894-8AFC-FFA2-4149CBC2C30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01896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9B0F03E-BF70-4746-E496-AACACD3BEF8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20673" y="6679761"/>
                <a:ext cx="60193" cy="6019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92222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21" r:id="rId2"/>
    <p:sldLayoutId id="2147483822" r:id="rId3"/>
    <p:sldLayoutId id="2147483823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2" r:id="rId10"/>
    <p:sldLayoutId id="2147483834" r:id="rId11"/>
    <p:sldLayoutId id="2147483836" r:id="rId12"/>
    <p:sldLayoutId id="2147483839" r:id="rId13"/>
    <p:sldLayoutId id="2147483840" r:id="rId14"/>
    <p:sldLayoutId id="2147483843" r:id="rId15"/>
    <p:sldLayoutId id="2147483844" r:id="rId16"/>
    <p:sldLayoutId id="2147483845" r:id="rId17"/>
    <p:sldLayoutId id="2147483847" r:id="rId18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400" kern="1200" spc="-15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Tx/>
        <a:buNone/>
        <a:defRPr sz="2200" kern="1200" spc="-30" baseline="0">
          <a:solidFill>
            <a:schemeClr val="tx1"/>
          </a:solidFill>
          <a:latin typeface="+mn-lt"/>
          <a:ea typeface="+mn-ea"/>
          <a:cs typeface="+mn-cs"/>
        </a:defRPr>
      </a:lvl1pPr>
      <a:lvl2pPr marL="265113" indent="-265113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SzPct val="120000"/>
        <a:buFont typeface="UKCEH Suisse" panose="020B0504000000000000" pitchFamily="34" charset="-78"/>
        <a:buChar char="•"/>
        <a:defRPr sz="2200" kern="1200" spc="-3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Tx/>
        <a:buNone/>
        <a:defRPr lang="en-US" sz="2400" b="1" kern="0" spc="-30" baseline="0" dirty="0">
          <a:solidFill>
            <a:schemeClr val="tx1"/>
          </a:solidFill>
          <a:latin typeface="+mn-lt"/>
          <a:ea typeface="+mn-ea"/>
          <a:cs typeface="UKCEH Suisse" panose="020B0504000000000000" pitchFamily="34" charset="-78"/>
        </a:defRPr>
      </a:lvl3pPr>
      <a:lvl4pPr marL="0" indent="0" algn="l" defTabSz="914400" rtl="0" eaLnBrk="1" latinLnBrk="0" hangingPunct="1">
        <a:lnSpc>
          <a:spcPct val="90000"/>
        </a:lnSpc>
        <a:spcBef>
          <a:spcPts val="3000"/>
        </a:spcBef>
        <a:spcAft>
          <a:spcPts val="0"/>
        </a:spcAft>
        <a:buFontTx/>
        <a:buNone/>
        <a:defRPr sz="3200" kern="1200" spc="-10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SzPct val="110000"/>
        <a:buFont typeface="UKCEH Suisse" panose="020B0504000000000000" pitchFamily="34" charset="-78"/>
        <a:buNone/>
        <a:defRPr sz="2200" kern="1200" spc="-30" baseline="0">
          <a:solidFill>
            <a:schemeClr val="tx1"/>
          </a:solidFill>
          <a:latin typeface="UKCEH Suisse Semibold" panose="020B0704000000000000" pitchFamily="34" charset="-78"/>
          <a:ea typeface="+mn-ea"/>
          <a:cs typeface="UKCEH Suisse Semibold" panose="020B0704000000000000" pitchFamily="34" charset="-78"/>
        </a:defRPr>
      </a:lvl5pPr>
      <a:lvl6pPr marL="538163" indent="-27305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SzPct val="120000"/>
        <a:buFont typeface="UKCEH Suisse" panose="020B0504000000000000" pitchFamily="34" charset="-78"/>
        <a:buChar char="•"/>
        <a:defRPr sz="2200" b="0" kern="1200" spc="-20" baseline="0">
          <a:solidFill>
            <a:schemeClr val="tx1"/>
          </a:solidFill>
          <a:latin typeface="+mn-lt"/>
          <a:ea typeface="+mn-ea"/>
          <a:cs typeface="UKCEH Suisse Semibold" panose="020B0704000000000000" pitchFamily="34" charset="-78"/>
        </a:defRPr>
      </a:lvl6pPr>
      <a:lvl7pPr marL="0" indent="0" algn="l" defTabSz="914400" rtl="0" eaLnBrk="1" latinLnBrk="0" hangingPunct="1">
        <a:lnSpc>
          <a:spcPct val="90000"/>
        </a:lnSpc>
        <a:spcBef>
          <a:spcPts val="1200"/>
        </a:spcBef>
        <a:buFontTx/>
        <a:buNone/>
        <a:defRPr sz="2800" kern="1200" spc="-1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Tx/>
        <a:buNone/>
        <a:defRPr sz="2800" b="1" kern="1200" spc="-100" baseline="0">
          <a:solidFill>
            <a:schemeClr val="tx1"/>
          </a:solidFill>
          <a:latin typeface="UKCEH Suisse Semibold" panose="020B0704000000000000" pitchFamily="34" charset="-78"/>
          <a:ea typeface="+mn-ea"/>
          <a:cs typeface="UKCEH Suisse Semibold" panose="020B0704000000000000" pitchFamily="34" charset="-78"/>
        </a:defRPr>
      </a:lvl8pPr>
      <a:lvl9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272" userDrawn="1">
          <p15:clr>
            <a:srgbClr val="F26B43"/>
          </p15:clr>
        </p15:guide>
        <p15:guide id="4" pos="483" userDrawn="1">
          <p15:clr>
            <a:srgbClr val="F26B43"/>
          </p15:clr>
        </p15:guide>
        <p15:guide id="5" pos="733" userDrawn="1">
          <p15:clr>
            <a:srgbClr val="F26B43"/>
          </p15:clr>
        </p15:guide>
        <p15:guide id="6" pos="941" userDrawn="1">
          <p15:clr>
            <a:srgbClr val="F26B43"/>
          </p15:clr>
        </p15:guide>
        <p15:guide id="7" pos="1164" userDrawn="1">
          <p15:clr>
            <a:srgbClr val="F26B43"/>
          </p15:clr>
        </p15:guide>
        <p15:guide id="8" pos="1387" userDrawn="1">
          <p15:clr>
            <a:srgbClr val="F26B43"/>
          </p15:clr>
        </p15:guide>
        <p15:guide id="9" pos="1595" userDrawn="1">
          <p15:clr>
            <a:srgbClr val="F26B43"/>
          </p15:clr>
        </p15:guide>
        <p15:guide id="10" pos="1833" userDrawn="1">
          <p15:clr>
            <a:srgbClr val="F26B43"/>
          </p15:clr>
        </p15:guide>
        <p15:guide id="11" pos="2056" userDrawn="1">
          <p15:clr>
            <a:srgbClr val="F26B43"/>
          </p15:clr>
        </p15:guide>
        <p15:guide id="12" pos="2275" userDrawn="1">
          <p15:clr>
            <a:srgbClr val="F26B43"/>
          </p15:clr>
        </p15:guide>
        <p15:guide id="13" pos="2502" userDrawn="1">
          <p15:clr>
            <a:srgbClr val="F26B43"/>
          </p15:clr>
        </p15:guide>
        <p15:guide id="14" pos="2729" userDrawn="1">
          <p15:clr>
            <a:srgbClr val="F26B43"/>
          </p15:clr>
        </p15:guide>
        <p15:guide id="15" pos="2948" userDrawn="1">
          <p15:clr>
            <a:srgbClr val="F26B43"/>
          </p15:clr>
        </p15:guide>
        <p15:guide id="16" pos="3171" userDrawn="1">
          <p15:clr>
            <a:srgbClr val="F26B43"/>
          </p15:clr>
        </p15:guide>
        <p15:guide id="17" pos="3394" userDrawn="1">
          <p15:clr>
            <a:srgbClr val="F26B43"/>
          </p15:clr>
        </p15:guide>
        <p15:guide id="18" pos="3617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4062" userDrawn="1">
          <p15:clr>
            <a:srgbClr val="F26B43"/>
          </p15:clr>
        </p15:guide>
        <p15:guide id="21" pos="4285" userDrawn="1">
          <p15:clr>
            <a:srgbClr val="F26B43"/>
          </p15:clr>
        </p15:guide>
        <p15:guide id="22" pos="4508" userDrawn="1">
          <p15:clr>
            <a:srgbClr val="F26B43"/>
          </p15:clr>
        </p15:guide>
        <p15:guide id="23" pos="4731" userDrawn="1">
          <p15:clr>
            <a:srgbClr val="F26B43"/>
          </p15:clr>
        </p15:guide>
        <p15:guide id="24" pos="4954" userDrawn="1">
          <p15:clr>
            <a:srgbClr val="F26B43"/>
          </p15:clr>
        </p15:guide>
        <p15:guide id="25" pos="5201" userDrawn="1">
          <p15:clr>
            <a:srgbClr val="F26B43"/>
          </p15:clr>
        </p15:guide>
        <p15:guide id="26" pos="5400" userDrawn="1">
          <p15:clr>
            <a:srgbClr val="F26B43"/>
          </p15:clr>
        </p15:guide>
        <p15:guide id="27" pos="5623" userDrawn="1">
          <p15:clr>
            <a:srgbClr val="F26B43"/>
          </p15:clr>
        </p15:guide>
        <p15:guide id="28" pos="5846" userDrawn="1">
          <p15:clr>
            <a:srgbClr val="F26B43"/>
          </p15:clr>
        </p15:guide>
        <p15:guide id="29" pos="6069" userDrawn="1">
          <p15:clr>
            <a:srgbClr val="F26B43"/>
          </p15:clr>
        </p15:guide>
        <p15:guide id="30" pos="6292" userDrawn="1">
          <p15:clr>
            <a:srgbClr val="F26B43"/>
          </p15:clr>
        </p15:guide>
        <p15:guide id="31" pos="6515" userDrawn="1">
          <p15:clr>
            <a:srgbClr val="F26B43"/>
          </p15:clr>
        </p15:guide>
        <p15:guide id="32" pos="6738" userDrawn="1">
          <p15:clr>
            <a:srgbClr val="F26B43"/>
          </p15:clr>
        </p15:guide>
        <p15:guide id="33" pos="6961" userDrawn="1">
          <p15:clr>
            <a:srgbClr val="F26B43"/>
          </p15:clr>
        </p15:guide>
        <p15:guide id="34" pos="7184" userDrawn="1">
          <p15:clr>
            <a:srgbClr val="F26B43"/>
          </p15:clr>
        </p15:guide>
        <p15:guide id="35" pos="7407" userDrawn="1">
          <p15:clr>
            <a:srgbClr val="F26B43"/>
          </p15:clr>
        </p15:guide>
        <p15:guide id="36" orient="horz" userDrawn="1">
          <p15:clr>
            <a:srgbClr val="F26B43"/>
          </p15:clr>
        </p15:guide>
        <p15:guide id="37" orient="horz" pos="4320" userDrawn="1">
          <p15:clr>
            <a:srgbClr val="F26B43"/>
          </p15:clr>
        </p15:guide>
        <p15:guide id="38" orient="horz" pos="255" userDrawn="1">
          <p15:clr>
            <a:srgbClr val="F26B43"/>
          </p15:clr>
        </p15:guide>
        <p15:guide id="39" orient="horz" pos="481" userDrawn="1">
          <p15:clr>
            <a:srgbClr val="F26B43"/>
          </p15:clr>
        </p15:guide>
        <p15:guide id="40" orient="horz" pos="691" userDrawn="1">
          <p15:clr>
            <a:srgbClr val="F26B43"/>
          </p15:clr>
        </p15:guide>
        <p15:guide id="41" orient="horz" pos="901" userDrawn="1">
          <p15:clr>
            <a:srgbClr val="F26B43"/>
          </p15:clr>
        </p15:guide>
        <p15:guide id="42" orient="horz" pos="1111" userDrawn="1">
          <p15:clr>
            <a:srgbClr val="F26B43"/>
          </p15:clr>
        </p15:guide>
        <p15:guide id="43" orient="horz" pos="1320" userDrawn="1">
          <p15:clr>
            <a:srgbClr val="F26B43"/>
          </p15:clr>
        </p15:guide>
        <p15:guide id="44" orient="horz" pos="1530" userDrawn="1">
          <p15:clr>
            <a:srgbClr val="F26B43"/>
          </p15:clr>
        </p15:guide>
        <p15:guide id="45" orient="horz" pos="1740" userDrawn="1">
          <p15:clr>
            <a:srgbClr val="F26B43"/>
          </p15:clr>
        </p15:guide>
        <p15:guide id="46" orient="horz" pos="1950" userDrawn="1">
          <p15:clr>
            <a:srgbClr val="F26B43"/>
          </p15:clr>
        </p15:guide>
        <p15:guide id="47" orient="horz" pos="2160" userDrawn="1">
          <p15:clr>
            <a:srgbClr val="F26B43"/>
          </p15:clr>
        </p15:guide>
        <p15:guide id="48" orient="horz" pos="2369" userDrawn="1">
          <p15:clr>
            <a:srgbClr val="F26B43"/>
          </p15:clr>
        </p15:guide>
        <p15:guide id="49" orient="horz" pos="2579" userDrawn="1">
          <p15:clr>
            <a:srgbClr val="F26B43"/>
          </p15:clr>
        </p15:guide>
        <p15:guide id="50" orient="horz" pos="2789" userDrawn="1">
          <p15:clr>
            <a:srgbClr val="F26B43"/>
          </p15:clr>
        </p15:guide>
        <p15:guide id="51" orient="horz" pos="2999" userDrawn="1">
          <p15:clr>
            <a:srgbClr val="F26B43"/>
          </p15:clr>
        </p15:guide>
        <p15:guide id="52" orient="horz" pos="3208" userDrawn="1">
          <p15:clr>
            <a:srgbClr val="F26B43"/>
          </p15:clr>
        </p15:guide>
        <p15:guide id="53" orient="horz" pos="3418" userDrawn="1">
          <p15:clr>
            <a:srgbClr val="F26B43"/>
          </p15:clr>
        </p15:guide>
        <p15:guide id="54" orient="horz" pos="3628" userDrawn="1">
          <p15:clr>
            <a:srgbClr val="F26B43"/>
          </p15:clr>
        </p15:guide>
        <p15:guide id="55" orient="horz" pos="3838" userDrawn="1">
          <p15:clr>
            <a:srgbClr val="F26B43"/>
          </p15:clr>
        </p15:guide>
        <p15:guide id="56" orient="horz" pos="4047" userDrawn="1">
          <p15:clr>
            <a:srgbClr val="F26B43"/>
          </p15:clr>
        </p15:guide>
        <p15:guide id="57" pos="75" userDrawn="1">
          <p15:clr>
            <a:srgbClr val="F26B43"/>
          </p15:clr>
        </p15:guide>
        <p15:guide id="58" pos="7491" userDrawn="1">
          <p15:clr>
            <a:srgbClr val="F26B43"/>
          </p15:clr>
        </p15:guide>
        <p15:guide id="59" orient="horz" pos="73" userDrawn="1">
          <p15:clr>
            <a:srgbClr val="F26B43"/>
          </p15:clr>
        </p15:guide>
        <p15:guide id="60" orient="horz" pos="4247" userDrawn="1">
          <p15:clr>
            <a:srgbClr val="F26B43"/>
          </p15:clr>
        </p15:guide>
        <p15:guide id="61" pos="175" userDrawn="1">
          <p15:clr>
            <a:srgbClr val="F26B43"/>
          </p15:clr>
        </p15:guide>
        <p15:guide id="62" pos="7605" userDrawn="1">
          <p15:clr>
            <a:srgbClr val="F26B43"/>
          </p15:clr>
        </p15:guide>
        <p15:guide id="63" orient="horz" pos="413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13" Type="http://schemas.openxmlformats.org/officeDocument/2006/relationships/hyperlink" Target="https://orcid.org/0000-0001-7260-1946" TargetMode="External"/><Relationship Id="rId18" Type="http://schemas.openxmlformats.org/officeDocument/2006/relationships/hyperlink" Target="https://orcid.org/0000-0002-1382-3407" TargetMode="External"/><Relationship Id="rId3" Type="http://schemas.openxmlformats.org/officeDocument/2006/relationships/image" Target="../media/image30.jp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17" Type="http://schemas.openxmlformats.org/officeDocument/2006/relationships/hyperlink" Target="https://orcid.org/0000-0003-1142-4039" TargetMode="External"/><Relationship Id="rId2" Type="http://schemas.openxmlformats.org/officeDocument/2006/relationships/slide" Target="slide2.xml"/><Relationship Id="rId16" Type="http://schemas.openxmlformats.org/officeDocument/2006/relationships/hyperlink" Target="https://orcid.org/0000-0003-2115-4909" TargetMode="External"/><Relationship Id="rId20" Type="http://schemas.openxmlformats.org/officeDocument/2006/relationships/hyperlink" Target="https://doi.org/10.5194/egusphere-egu26-12200" TargetMode="Externa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5" Type="http://schemas.openxmlformats.org/officeDocument/2006/relationships/hyperlink" Target="https://orcid.org/0000-0002-8837-460X" TargetMode="External"/><Relationship Id="rId10" Type="http://schemas.openxmlformats.org/officeDocument/2006/relationships/image" Target="../media/image37.jpeg"/><Relationship Id="rId19" Type="http://schemas.openxmlformats.org/officeDocument/2006/relationships/image" Target="../media/image40.png"/><Relationship Id="rId4" Type="http://schemas.openxmlformats.org/officeDocument/2006/relationships/image" Target="../media/image31.png"/><Relationship Id="rId9" Type="http://schemas.openxmlformats.org/officeDocument/2006/relationships/image" Target="../media/image36.jpeg"/><Relationship Id="rId14" Type="http://schemas.openxmlformats.org/officeDocument/2006/relationships/hyperlink" Target="https://orcid.org/0000-0002-7471-9988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9.xml"/><Relationship Id="rId7" Type="http://schemas.openxmlformats.org/officeDocument/2006/relationships/image" Target="../media/image30.jpg"/><Relationship Id="rId2" Type="http://schemas.openxmlformats.org/officeDocument/2006/relationships/slide" Target="slide1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4.png"/><Relationship Id="rId5" Type="http://schemas.openxmlformats.org/officeDocument/2006/relationships/slide" Target="slide3.xml"/><Relationship Id="rId4" Type="http://schemas.openxmlformats.org/officeDocument/2006/relationships/slide" Target="slide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g"/><Relationship Id="rId3" Type="http://schemas.openxmlformats.org/officeDocument/2006/relationships/slide" Target="slide9.xml"/><Relationship Id="rId7" Type="http://schemas.openxmlformats.org/officeDocument/2006/relationships/image" Target="../media/image56.png"/><Relationship Id="rId2" Type="http://schemas.openxmlformats.org/officeDocument/2006/relationships/slide" Target="slide1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5.png"/><Relationship Id="rId5" Type="http://schemas.openxmlformats.org/officeDocument/2006/relationships/slide" Target="slide3.xml"/><Relationship Id="rId4" Type="http://schemas.openxmlformats.org/officeDocument/2006/relationships/slide" Target="slide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felipef93/UK-Flow15-Usage_Notes" TargetMode="External"/><Relationship Id="rId3" Type="http://schemas.openxmlformats.org/officeDocument/2006/relationships/slide" Target="slide11.xml"/><Relationship Id="rId7" Type="http://schemas.openxmlformats.org/officeDocument/2006/relationships/hyperlink" Target="https://doi.org/10.5194/essd-2026-152" TargetMode="External"/><Relationship Id="rId2" Type="http://schemas.openxmlformats.org/officeDocument/2006/relationships/slide" Target="slide1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6.png"/><Relationship Id="rId11" Type="http://schemas.openxmlformats.org/officeDocument/2006/relationships/image" Target="../media/image30.jpg"/><Relationship Id="rId5" Type="http://schemas.openxmlformats.org/officeDocument/2006/relationships/slide" Target="slide3.xml"/><Relationship Id="rId10" Type="http://schemas.openxmlformats.org/officeDocument/2006/relationships/image" Target="../media/image58.png"/><Relationship Id="rId4" Type="http://schemas.openxmlformats.org/officeDocument/2006/relationships/slide" Target="slide2.xml"/><Relationship Id="rId9" Type="http://schemas.openxmlformats.org/officeDocument/2006/relationships/image" Target="../media/image5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slide" Target="slide14.xml"/><Relationship Id="rId7" Type="http://schemas.openxmlformats.org/officeDocument/2006/relationships/slide" Target="slide2.xml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oi.org/10.1002/hyp.70523" TargetMode="External"/><Relationship Id="rId5" Type="http://schemas.openxmlformats.org/officeDocument/2006/relationships/image" Target="../media/image60.png"/><Relationship Id="rId4" Type="http://schemas.openxmlformats.org/officeDocument/2006/relationships/slide" Target="slide12.xml"/><Relationship Id="rId9" Type="http://schemas.openxmlformats.org/officeDocument/2006/relationships/image" Target="../media/image30.jp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g"/><Relationship Id="rId3" Type="http://schemas.openxmlformats.org/officeDocument/2006/relationships/image" Target="../media/image62.png"/><Relationship Id="rId7" Type="http://schemas.openxmlformats.org/officeDocument/2006/relationships/slide" Target="slide3.xml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0.xml"/><Relationship Id="rId6" Type="http://schemas.openxmlformats.org/officeDocument/2006/relationships/slide" Target="slide2.xml"/><Relationship Id="rId5" Type="http://schemas.openxmlformats.org/officeDocument/2006/relationships/slide" Target="slide13.xml"/><Relationship Id="rId4" Type="http://schemas.openxmlformats.org/officeDocument/2006/relationships/slide" Target="slide1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g"/><Relationship Id="rId3" Type="http://schemas.openxmlformats.org/officeDocument/2006/relationships/slide" Target="slide19.xml"/><Relationship Id="rId7" Type="http://schemas.openxmlformats.org/officeDocument/2006/relationships/slide" Target="slide3.xml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0.xml"/><Relationship Id="rId6" Type="http://schemas.openxmlformats.org/officeDocument/2006/relationships/slide" Target="slide2.xml"/><Relationship Id="rId5" Type="http://schemas.openxmlformats.org/officeDocument/2006/relationships/slide" Target="slide16.xml"/><Relationship Id="rId4" Type="http://schemas.openxmlformats.org/officeDocument/2006/relationships/slide" Target="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" Target="slide15.xml"/><Relationship Id="rId7" Type="http://schemas.openxmlformats.org/officeDocument/2006/relationships/image" Target="../media/image30.jpg"/><Relationship Id="rId2" Type="http://schemas.openxmlformats.org/officeDocument/2006/relationships/slide" Target="slide17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4.png"/><Relationship Id="rId5" Type="http://schemas.openxmlformats.org/officeDocument/2006/relationships/slide" Target="slide3.xml"/><Relationship Id="rId4" Type="http://schemas.openxmlformats.org/officeDocument/2006/relationships/slide" Target="slide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slide" Target="slide16.xml"/><Relationship Id="rId7" Type="http://schemas.openxmlformats.org/officeDocument/2006/relationships/hyperlink" Target="https://doi.org/10.1111/jfr3.70035Digital%20Object%20Identifier%20(DOI)" TargetMode="External"/><Relationship Id="rId2" Type="http://schemas.openxmlformats.org/officeDocument/2006/relationships/slide" Target="slide2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5.png"/><Relationship Id="rId5" Type="http://schemas.openxmlformats.org/officeDocument/2006/relationships/slide" Target="slide3.xml"/><Relationship Id="rId4" Type="http://schemas.openxmlformats.org/officeDocument/2006/relationships/slide" Target="slide2.xml"/><Relationship Id="rId9" Type="http://schemas.openxmlformats.org/officeDocument/2006/relationships/image" Target="../media/image30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slide" Target="slide10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0.jpg"/><Relationship Id="rId4" Type="http://schemas.openxmlformats.org/officeDocument/2006/relationships/slide" Target="slide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slide" Target="slide1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0.jpg"/><Relationship Id="rId4" Type="http://schemas.openxmlformats.org/officeDocument/2006/relationships/slide" Target="slid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7" Type="http://schemas.openxmlformats.org/officeDocument/2006/relationships/image" Target="../media/image30.jpg"/><Relationship Id="rId2" Type="http://schemas.openxmlformats.org/officeDocument/2006/relationships/slide" Target="slide4.xml"/><Relationship Id="rId1" Type="http://schemas.openxmlformats.org/officeDocument/2006/relationships/slideLayout" Target="../slideLayouts/slideLayout58.xml"/><Relationship Id="rId6" Type="http://schemas.openxmlformats.org/officeDocument/2006/relationships/slide" Target="slide1.xml"/><Relationship Id="rId5" Type="http://schemas.openxmlformats.org/officeDocument/2006/relationships/slide" Target="slide3.xml"/><Relationship Id="rId4" Type="http://schemas.openxmlformats.org/officeDocument/2006/relationships/slide" Target="slide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slide" Target="slide17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0.jpg"/><Relationship Id="rId4" Type="http://schemas.openxmlformats.org/officeDocument/2006/relationships/slide" Target="slide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9.xml"/><Relationship Id="rId13" Type="http://schemas.openxmlformats.org/officeDocument/2006/relationships/slide" Target="slide12.xml"/><Relationship Id="rId18" Type="http://schemas.openxmlformats.org/officeDocument/2006/relationships/image" Target="../media/image30.jpg"/><Relationship Id="rId3" Type="http://schemas.openxmlformats.org/officeDocument/2006/relationships/slide" Target="slide4.xml"/><Relationship Id="rId7" Type="http://schemas.openxmlformats.org/officeDocument/2006/relationships/slide" Target="slide8.xml"/><Relationship Id="rId12" Type="http://schemas.openxmlformats.org/officeDocument/2006/relationships/slide" Target="slide11.xml"/><Relationship Id="rId17" Type="http://schemas.openxmlformats.org/officeDocument/2006/relationships/slide" Target="slide2.xml"/><Relationship Id="rId2" Type="http://schemas.openxmlformats.org/officeDocument/2006/relationships/image" Target="../media/image41.png"/><Relationship Id="rId16" Type="http://schemas.openxmlformats.org/officeDocument/2006/relationships/slide" Target="slide15.xml"/><Relationship Id="rId1" Type="http://schemas.openxmlformats.org/officeDocument/2006/relationships/slideLayout" Target="../slideLayouts/slideLayout10.xml"/><Relationship Id="rId6" Type="http://schemas.openxmlformats.org/officeDocument/2006/relationships/slide" Target="slide7.xml"/><Relationship Id="rId11" Type="http://schemas.openxmlformats.org/officeDocument/2006/relationships/slide" Target="slide17.xml"/><Relationship Id="rId5" Type="http://schemas.openxmlformats.org/officeDocument/2006/relationships/slide" Target="slide6.xml"/><Relationship Id="rId15" Type="http://schemas.openxmlformats.org/officeDocument/2006/relationships/slide" Target="slide14.xml"/><Relationship Id="rId10" Type="http://schemas.openxmlformats.org/officeDocument/2006/relationships/slide" Target="slide16.xml"/><Relationship Id="rId4" Type="http://schemas.openxmlformats.org/officeDocument/2006/relationships/slide" Target="slide5.xml"/><Relationship Id="rId9" Type="http://schemas.openxmlformats.org/officeDocument/2006/relationships/slide" Target="slide10.xml"/><Relationship Id="rId14" Type="http://schemas.openxmlformats.org/officeDocument/2006/relationships/slide" Target="slide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image" Target="../media/image42.png"/><Relationship Id="rId7" Type="http://schemas.openxmlformats.org/officeDocument/2006/relationships/slide" Target="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.xml"/><Relationship Id="rId6" Type="http://schemas.openxmlformats.org/officeDocument/2006/relationships/hyperlink" Target="https://doi.org/10.2166/nh.2023.045" TargetMode="External"/><Relationship Id="rId5" Type="http://schemas.openxmlformats.org/officeDocument/2006/relationships/image" Target="../media/image43.png"/><Relationship Id="rId4" Type="http://schemas.openxmlformats.org/officeDocument/2006/relationships/slide" Target="slide5.xml"/><Relationship Id="rId9" Type="http://schemas.openxmlformats.org/officeDocument/2006/relationships/image" Target="../media/image30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7" Type="http://schemas.openxmlformats.org/officeDocument/2006/relationships/image" Target="../media/image30.jpg"/><Relationship Id="rId2" Type="http://schemas.openxmlformats.org/officeDocument/2006/relationships/slide" Target="slide6.xml"/><Relationship Id="rId1" Type="http://schemas.openxmlformats.org/officeDocument/2006/relationships/slideLayout" Target="../slideLayouts/slideLayout10.xml"/><Relationship Id="rId6" Type="http://schemas.openxmlformats.org/officeDocument/2006/relationships/slide" Target="slide3.xml"/><Relationship Id="rId5" Type="http://schemas.openxmlformats.org/officeDocument/2006/relationships/slide" Target="slide2.xml"/><Relationship Id="rId4" Type="http://schemas.openxmlformats.org/officeDocument/2006/relationships/image" Target="../media/image4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slide" Target="slide5.xml"/><Relationship Id="rId7" Type="http://schemas.openxmlformats.org/officeDocument/2006/relationships/slide" Target="slide2.xml"/><Relationship Id="rId2" Type="http://schemas.openxmlformats.org/officeDocument/2006/relationships/slide" Target="slide7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oi.org/10.5194/essd-2026-152" TargetMode="External"/><Relationship Id="rId11" Type="http://schemas.openxmlformats.org/officeDocument/2006/relationships/image" Target="../media/image30.jpg"/><Relationship Id="rId5" Type="http://schemas.openxmlformats.org/officeDocument/2006/relationships/image" Target="../media/image46.png"/><Relationship Id="rId10" Type="http://schemas.openxmlformats.org/officeDocument/2006/relationships/image" Target="../media/image47.png"/><Relationship Id="rId4" Type="http://schemas.openxmlformats.org/officeDocument/2006/relationships/image" Target="../media/image45.png"/><Relationship Id="rId9" Type="http://schemas.openxmlformats.org/officeDocument/2006/relationships/hyperlink" Target="https://doi.org/10.5285/211710ac-f01b-4b52-807f-373babb1c368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slide" Target="slide6.xml"/><Relationship Id="rId7" Type="http://schemas.openxmlformats.org/officeDocument/2006/relationships/slide" Target="slide2.xml"/><Relationship Id="rId2" Type="http://schemas.openxmlformats.org/officeDocument/2006/relationships/slide" Target="slide8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oi.org/10.5194/essd-2026-152" TargetMode="External"/><Relationship Id="rId5" Type="http://schemas.openxmlformats.org/officeDocument/2006/relationships/image" Target="../media/image46.png"/><Relationship Id="rId4" Type="http://schemas.openxmlformats.org/officeDocument/2006/relationships/image" Target="../media/image48.png"/><Relationship Id="rId9" Type="http://schemas.openxmlformats.org/officeDocument/2006/relationships/image" Target="../media/image30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slide" Target="slide7.xml"/><Relationship Id="rId7" Type="http://schemas.openxmlformats.org/officeDocument/2006/relationships/slide" Target="slide2.xml"/><Relationship Id="rId2" Type="http://schemas.openxmlformats.org/officeDocument/2006/relationships/slide" Target="slide9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oi.org/10.5194/egusphere-2026-277" TargetMode="External"/><Relationship Id="rId5" Type="http://schemas.openxmlformats.org/officeDocument/2006/relationships/image" Target="../media/image50.png"/><Relationship Id="rId4" Type="http://schemas.openxmlformats.org/officeDocument/2006/relationships/image" Target="../media/image49.png"/><Relationship Id="rId9" Type="http://schemas.openxmlformats.org/officeDocument/2006/relationships/image" Target="../media/image30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doi.org/10.5194/egusphere-2026-277" TargetMode="External"/><Relationship Id="rId13" Type="http://schemas.openxmlformats.org/officeDocument/2006/relationships/image" Target="../media/image30.jpg"/><Relationship Id="rId3" Type="http://schemas.openxmlformats.org/officeDocument/2006/relationships/slide" Target="slide10.xml"/><Relationship Id="rId7" Type="http://schemas.openxmlformats.org/officeDocument/2006/relationships/image" Target="../media/image50.png"/><Relationship Id="rId12" Type="http://schemas.openxmlformats.org/officeDocument/2006/relationships/image" Target="../media/image53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0.xml"/><Relationship Id="rId6" Type="http://schemas.openxmlformats.org/officeDocument/2006/relationships/slide" Target="slide11.xml"/><Relationship Id="rId11" Type="http://schemas.openxmlformats.org/officeDocument/2006/relationships/hyperlink" Target="https://github.com/felipef93/UK-Flow15-QC" TargetMode="External"/><Relationship Id="rId5" Type="http://schemas.openxmlformats.org/officeDocument/2006/relationships/image" Target="../media/image52.png"/><Relationship Id="rId10" Type="http://schemas.openxmlformats.org/officeDocument/2006/relationships/slide" Target="slide3.xml"/><Relationship Id="rId4" Type="http://schemas.openxmlformats.org/officeDocument/2006/relationships/slide" Target="slide8.xml"/><Relationship Id="rId9" Type="http://schemas.openxmlformats.org/officeDocument/2006/relationships/slide" Target="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197E85-FA39-1702-3F93-CFD95CDC98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7E3E356E-9310-7E76-F87B-8EA4DA1EE85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6EA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475F857-BCF2-05B7-598F-FF10F3CF5FAC}"/>
              </a:ext>
            </a:extLst>
          </p:cNvPr>
          <p:cNvSpPr txBox="1"/>
          <p:nvPr/>
        </p:nvSpPr>
        <p:spPr>
          <a:xfrm>
            <a:off x="1020379" y="1604564"/>
            <a:ext cx="1028337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5000" b="0" i="0" dirty="0">
                <a:effectLst/>
                <a:latin typeface="+mj-lt"/>
                <a:hlinkClick r:id="rId2" action="ppaction://hlinksldjump"/>
              </a:rPr>
              <a:t>UK-Flow15: Sub-hourly river flow data observations from 1369 river gauges in the UK, 1948-2023</a:t>
            </a:r>
            <a:endParaRPr lang="en-GB" sz="5000" dirty="0">
              <a:latin typeface="+mj-lt"/>
            </a:endParaRPr>
          </a:p>
        </p:txBody>
      </p:sp>
      <p:pic>
        <p:nvPicPr>
          <p:cNvPr id="4" name="Picture 3" descr="A blue and white logo&#10;&#10;AI-generated content may be incorrect.">
            <a:extLst>
              <a:ext uri="{FF2B5EF4-FFF2-40B4-BE49-F238E27FC236}">
                <a16:creationId xmlns:a16="http://schemas.microsoft.com/office/drawing/2014/main" id="{6C3B38B9-611F-719E-15D0-6D095E40DD46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562" y="90000"/>
            <a:ext cx="2479037" cy="720000"/>
          </a:xfrm>
          <a:prstGeom prst="rect">
            <a:avLst/>
          </a:prstGeom>
        </p:spPr>
      </p:pic>
      <p:pic>
        <p:nvPicPr>
          <p:cNvPr id="3074" name="Picture 2" descr="RES Welcomes New Gold Level Organisational Member: UKCEH - Royal  Entomological Society">
            <a:extLst>
              <a:ext uri="{FF2B5EF4-FFF2-40B4-BE49-F238E27FC236}">
                <a16:creationId xmlns:a16="http://schemas.microsoft.com/office/drawing/2014/main" id="{602F94DF-5A30-5430-EEBE-CE4E141D8C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9572" y="90000"/>
            <a:ext cx="207879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About us - Environment Agency - GOV.UK">
            <a:extLst>
              <a:ext uri="{FF2B5EF4-FFF2-40B4-BE49-F238E27FC236}">
                <a16:creationId xmlns:a16="http://schemas.microsoft.com/office/drawing/2014/main" id="{AA023A69-6400-42DF-89E5-C3C5B065ED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088" y="5993356"/>
            <a:ext cx="2204081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Scottish Environment Protection Agency (SEPA)">
            <a:extLst>
              <a:ext uri="{FF2B5EF4-FFF2-40B4-BE49-F238E27FC236}">
                <a16:creationId xmlns:a16="http://schemas.microsoft.com/office/drawing/2014/main" id="{A1471502-9C5F-F1A1-D3BC-B06A7CE57E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3190" y="6028712"/>
            <a:ext cx="1607143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Natural Resources Wales">
            <a:extLst>
              <a:ext uri="{FF2B5EF4-FFF2-40B4-BE49-F238E27FC236}">
                <a16:creationId xmlns:a16="http://schemas.microsoft.com/office/drawing/2014/main" id="{ECC60DE4-5D86-3225-8C79-00A46D770A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7" b="15281"/>
          <a:stretch>
            <a:fillRect/>
          </a:stretch>
        </p:blipFill>
        <p:spPr bwMode="auto">
          <a:xfrm>
            <a:off x="4940727" y="5943544"/>
            <a:ext cx="1869903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Functions of the new Department for Infrastructure | Department for  Infrastructure">
            <a:extLst>
              <a:ext uri="{FF2B5EF4-FFF2-40B4-BE49-F238E27FC236}">
                <a16:creationId xmlns:a16="http://schemas.microsoft.com/office/drawing/2014/main" id="{14F999E1-B8E5-C2E2-28F4-EC34965CBD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80" b="20119"/>
          <a:stretch>
            <a:fillRect/>
          </a:stretch>
        </p:blipFill>
        <p:spPr bwMode="auto">
          <a:xfrm>
            <a:off x="7292435" y="5943544"/>
            <a:ext cx="2064179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NERC Funding for Hydrological Research Projects | UK River Restoration  Centre (RRC) posted on the topic | LinkedIn">
            <a:extLst>
              <a:ext uri="{FF2B5EF4-FFF2-40B4-BE49-F238E27FC236}">
                <a16:creationId xmlns:a16="http://schemas.microsoft.com/office/drawing/2014/main" id="{EBD0DE9A-BB9D-2E4E-CE51-2A90F105E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9797" y="5943544"/>
            <a:ext cx="2001000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University of Bristol - WUN">
            <a:extLst>
              <a:ext uri="{FF2B5EF4-FFF2-40B4-BE49-F238E27FC236}">
                <a16:creationId xmlns:a16="http://schemas.microsoft.com/office/drawing/2014/main" id="{F9B27F7A-6FC9-8FEB-FD54-8D38C20E46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4616" y="90000"/>
            <a:ext cx="2363077" cy="6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0" name="Picture 18" descr="Northumbria University - National Centre for Academic and Cultural Exchange">
            <a:extLst>
              <a:ext uri="{FF2B5EF4-FFF2-40B4-BE49-F238E27FC236}">
                <a16:creationId xmlns:a16="http://schemas.microsoft.com/office/drawing/2014/main" id="{A6956268-3F86-873E-9F23-5389C7029B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036" b="31002"/>
          <a:stretch>
            <a:fillRect/>
          </a:stretch>
        </p:blipFill>
        <p:spPr bwMode="auto">
          <a:xfrm>
            <a:off x="10089797" y="94719"/>
            <a:ext cx="2102203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6" name="Picture 24" descr="University of Manchester (UoM)">
            <a:extLst>
              <a:ext uri="{FF2B5EF4-FFF2-40B4-BE49-F238E27FC236}">
                <a16:creationId xmlns:a16="http://schemas.microsoft.com/office/drawing/2014/main" id="{CD0EF53E-B2F4-D280-BD46-FC1862CBC1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91"/>
          <a:stretch>
            <a:fillRect/>
          </a:stretch>
        </p:blipFill>
        <p:spPr bwMode="auto">
          <a:xfrm>
            <a:off x="5482293" y="93642"/>
            <a:ext cx="1478398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25">
            <a:extLst>
              <a:ext uri="{FF2B5EF4-FFF2-40B4-BE49-F238E27FC236}">
                <a16:creationId xmlns:a16="http://schemas.microsoft.com/office/drawing/2014/main" id="{A4F785D0-4568-CAB2-AEC4-90AD8566C1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5264" y="4398577"/>
            <a:ext cx="7836736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Felipe Fileni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,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Open Sans" panose="020B0606030504020204" pitchFamily="34" charset="0"/>
              </a:rPr>
              <a:t> 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Hayley J. Fowler</a:t>
            </a:r>
            <a:r>
              <a:rPr lang="en-US" altLang="en-US" sz="2000" dirty="0">
                <a:solidFill>
                  <a:srgbClr val="0072BC"/>
                </a:solidFill>
                <a:latin typeface="+mj-lt"/>
              </a:rPr>
              <a:t>, 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Elizabeth Lewis,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Open Sans" panose="020B0606030504020204" pitchFamily="34" charset="0"/>
              </a:rPr>
              <a:t> </a:t>
            </a: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Fiona McLay,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Open Sans" panose="020B0606030504020204" pitchFamily="34" charset="0"/>
              </a:rPr>
              <a:t> 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Gemma Coxon,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Open Sans" panose="020B0606030504020204" pitchFamily="34" charset="0"/>
              </a:rPr>
              <a:t> 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David Archer,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Open Sans" panose="020B0606030504020204" pitchFamily="34" charset="0"/>
              </a:rPr>
              <a:t> </a:t>
            </a: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Emma Bruce,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Open Sans" panose="020B0606030504020204" pitchFamily="34" charset="0"/>
              </a:rPr>
              <a:t> 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Longzhi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Yang,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Open Sans" panose="020B0606030504020204" pitchFamily="34" charset="0"/>
              </a:rPr>
              <a:t> 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Matt Fry,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Open Sans" panose="020B0606030504020204" pitchFamily="34" charset="0"/>
              </a:rPr>
              <a:t> </a:t>
            </a: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Hollie Cooper,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Open Sans" panose="020B0606030504020204" pitchFamily="34" charset="0"/>
              </a:rPr>
              <a:t> 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nd Ollie Swain </a:t>
            </a:r>
          </a:p>
        </p:txBody>
      </p:sp>
      <p:sp>
        <p:nvSpPr>
          <p:cNvPr id="9" name="AutoShape 26">
            <a:hlinkClick r:id="rId13"/>
            <a:extLst>
              <a:ext uri="{FF2B5EF4-FFF2-40B4-BE49-F238E27FC236}">
                <a16:creationId xmlns:a16="http://schemas.microsoft.com/office/drawing/2014/main" id="{1A82574B-4ACC-8AC4-1C56-4B781A93CE2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608888" y="4907896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AutoShape 28">
            <a:hlinkClick r:id="rId14"/>
            <a:extLst>
              <a:ext uri="{FF2B5EF4-FFF2-40B4-BE49-F238E27FC236}">
                <a16:creationId xmlns:a16="http://schemas.microsoft.com/office/drawing/2014/main" id="{5FE3EAD0-475F-9C4D-DEF9-E03AA1BB244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255251" y="4907896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AutoShape 29">
            <a:hlinkClick r:id="rId15"/>
            <a:extLst>
              <a:ext uri="{FF2B5EF4-FFF2-40B4-BE49-F238E27FC236}">
                <a16:creationId xmlns:a16="http://schemas.microsoft.com/office/drawing/2014/main" id="{E30F5B45-91A8-1867-5D01-7AB634358B2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9151" y="4907896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AutoShape 30">
            <a:hlinkClick r:id="rId16"/>
            <a:extLst>
              <a:ext uri="{FF2B5EF4-FFF2-40B4-BE49-F238E27FC236}">
                <a16:creationId xmlns:a16="http://schemas.microsoft.com/office/drawing/2014/main" id="{7B6B6420-CDD3-D41C-FD23-ED43E2E05CF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881226" y="4907896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AutoShape 31">
            <a:hlinkClick r:id="rId17"/>
            <a:extLst>
              <a:ext uri="{FF2B5EF4-FFF2-40B4-BE49-F238E27FC236}">
                <a16:creationId xmlns:a16="http://schemas.microsoft.com/office/drawing/2014/main" id="{F792400B-9007-C0EF-7CB1-2C2ED77D413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817851" y="4907896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AutoShape 32">
            <a:hlinkClick r:id="rId18"/>
            <a:extLst>
              <a:ext uri="{FF2B5EF4-FFF2-40B4-BE49-F238E27FC236}">
                <a16:creationId xmlns:a16="http://schemas.microsoft.com/office/drawing/2014/main" id="{BBB6C004-0E7A-6CDE-2669-D92EB6DF8CA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998951" y="4907896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7" name="Picture 16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3DA3263C-8F41-DA1A-8508-76A3AAD3F2D7}"/>
              </a:ext>
            </a:extLst>
          </p:cNvPr>
          <p:cNvPicPr>
            <a:picLocks noChangeAspect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133" y="4520296"/>
            <a:ext cx="1080000" cy="10800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ED73319-12A4-4DDF-2CD3-46CD87803249}"/>
              </a:ext>
            </a:extLst>
          </p:cNvPr>
          <p:cNvSpPr txBox="1"/>
          <p:nvPr/>
        </p:nvSpPr>
        <p:spPr>
          <a:xfrm>
            <a:off x="425133" y="5600296"/>
            <a:ext cx="10680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hlinkClick r:id="rId20"/>
              </a:rPr>
              <a:t>abstract and information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30949081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0730F2-745F-47BC-5118-2005FB2C3F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7172805-C271-3062-F963-D4025FC51E3D}"/>
              </a:ext>
            </a:extLst>
          </p:cNvPr>
          <p:cNvSpPr/>
          <p:nvPr/>
        </p:nvSpPr>
        <p:spPr>
          <a:xfrm>
            <a:off x="6474556" y="1213216"/>
            <a:ext cx="5431703" cy="55288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A3DDD9C-7F4F-CF4A-E4BE-A3EBE359CD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8424150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Planned Updates</a:t>
            </a:r>
            <a:endParaRPr lang="en-US" dirty="0">
              <a:latin typeface="Trebuchet MS" panose="020B0603020202020204" pitchFamily="34" charset="0"/>
            </a:endParaRPr>
          </a:p>
        </p:txBody>
      </p:sp>
      <p:sp>
        <p:nvSpPr>
          <p:cNvPr id="21" name="Rectangle: Rounded Corners 20">
            <a:hlinkClick r:id="rId2" action="ppaction://hlinksldjump"/>
            <a:extLst>
              <a:ext uri="{FF2B5EF4-FFF2-40B4-BE49-F238E27FC236}">
                <a16:creationId xmlns:a16="http://schemas.microsoft.com/office/drawing/2014/main" id="{F0784787-2A8E-6FFA-75BC-C775D7DDFA49}"/>
              </a:ext>
            </a:extLst>
          </p:cNvPr>
          <p:cNvSpPr/>
          <p:nvPr/>
        </p:nvSpPr>
        <p:spPr>
          <a:xfrm>
            <a:off x="10191750" y="625683"/>
            <a:ext cx="1433513" cy="46510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Build it -&gt;</a:t>
            </a:r>
          </a:p>
        </p:txBody>
      </p:sp>
      <p:sp>
        <p:nvSpPr>
          <p:cNvPr id="4" name="Rectangle: Rounded Corners 3">
            <a:hlinkClick r:id="rId3" action="ppaction://hlinksldjump"/>
            <a:extLst>
              <a:ext uri="{FF2B5EF4-FFF2-40B4-BE49-F238E27FC236}">
                <a16:creationId xmlns:a16="http://schemas.microsoft.com/office/drawing/2014/main" id="{BD08A66C-0D18-F01E-2159-C783FB95910A}"/>
              </a:ext>
            </a:extLst>
          </p:cNvPr>
          <p:cNvSpPr/>
          <p:nvPr/>
        </p:nvSpPr>
        <p:spPr>
          <a:xfrm>
            <a:off x="8653895" y="625683"/>
            <a:ext cx="1433513" cy="46510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Build it</a:t>
            </a:r>
          </a:p>
        </p:txBody>
      </p:sp>
      <p:sp>
        <p:nvSpPr>
          <p:cNvPr id="19" name="Footer Placeholder 53">
            <a:extLst>
              <a:ext uri="{FF2B5EF4-FFF2-40B4-BE49-F238E27FC236}">
                <a16:creationId xmlns:a16="http://schemas.microsoft.com/office/drawing/2014/main" id="{641AC621-3C24-701A-E2B1-E368497B344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20" name="Rectangle: Rounded Corners 19">
            <a:hlinkClick r:id="rId4" action="ppaction://hlinksldjump"/>
            <a:extLst>
              <a:ext uri="{FF2B5EF4-FFF2-40B4-BE49-F238E27FC236}">
                <a16:creationId xmlns:a16="http://schemas.microsoft.com/office/drawing/2014/main" id="{347781DC-8576-92DF-3FCD-25C1007DE44E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22" name="Rectangle: Rounded Corners 21">
            <a:hlinkClick r:id="rId5" action="ppaction://hlinksldjump"/>
            <a:extLst>
              <a:ext uri="{FF2B5EF4-FFF2-40B4-BE49-F238E27FC236}">
                <a16:creationId xmlns:a16="http://schemas.microsoft.com/office/drawing/2014/main" id="{FC57B8F3-FB29-6020-01B1-46F78E1D6F8D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pic>
        <p:nvPicPr>
          <p:cNvPr id="5" name="Picture 4" descr="A screenshot of a graph&#10;&#10;AI-generated content may be incorrect.">
            <a:extLst>
              <a:ext uri="{FF2B5EF4-FFF2-40B4-BE49-F238E27FC236}">
                <a16:creationId xmlns:a16="http://schemas.microsoft.com/office/drawing/2014/main" id="{2364A656-A4C4-89E3-7C70-A40E7DF03E8E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4556" y="1259068"/>
            <a:ext cx="5431703" cy="54371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91E3DEF-5EA6-6434-9C6C-191FD5FB6F76}"/>
              </a:ext>
            </a:extLst>
          </p:cNvPr>
          <p:cNvSpPr txBox="1"/>
          <p:nvPr/>
        </p:nvSpPr>
        <p:spPr>
          <a:xfrm>
            <a:off x="571500" y="1870134"/>
            <a:ext cx="5740400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GB" sz="2200" b="1" dirty="0">
                <a:latin typeface="Trebuchet MS" panose="020B0603020202020204" pitchFamily="34" charset="0"/>
              </a:rPr>
              <a:t>Data &amp; Quality Control</a:t>
            </a:r>
            <a:endParaRPr lang="en-GB" sz="2200" dirty="0"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Integration of level data in the data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Request of some of the missing flow stations/time perio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Update the dataset to 2025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200" dirty="0">
              <a:latin typeface="Trebuchet MS" panose="020B0603020202020204" pitchFamily="34" charset="0"/>
            </a:endParaRPr>
          </a:p>
          <a:p>
            <a:endParaRPr lang="en-GB" sz="2200" b="1" dirty="0">
              <a:latin typeface="Trebuchet MS" panose="020B0603020202020204" pitchFamily="34" charset="0"/>
            </a:endParaRPr>
          </a:p>
          <a:p>
            <a:r>
              <a:rPr lang="en-GB" sz="2200" b="1" dirty="0">
                <a:latin typeface="Trebuchet MS" panose="020B0603020202020204" pitchFamily="34" charset="0"/>
              </a:rPr>
              <a:t>Workflow Development</a:t>
            </a:r>
            <a:endParaRPr lang="en-GB" sz="2200" dirty="0">
              <a:latin typeface="Trebuchet MS" panose="020B0603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Ensure that we have a procedure in place for sporadic updates of the da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Further evaluation of automated QC</a:t>
            </a:r>
          </a:p>
          <a:p>
            <a:pPr>
              <a:buFont typeface="Arial" panose="020B0604020202020204" pitchFamily="34" charset="0"/>
              <a:buChar char="•"/>
            </a:pPr>
            <a:endParaRPr lang="en-GB" dirty="0">
              <a:latin typeface="Trebuchet MS" panose="020B0603020202020204" pitchFamily="34" charset="0"/>
            </a:endParaRPr>
          </a:p>
        </p:txBody>
      </p:sp>
      <p:pic>
        <p:nvPicPr>
          <p:cNvPr id="10" name="Picture 9" descr="A blue and white logo&#10;&#10;AI-generated content may be incorrect.">
            <a:extLst>
              <a:ext uri="{FF2B5EF4-FFF2-40B4-BE49-F238E27FC236}">
                <a16:creationId xmlns:a16="http://schemas.microsoft.com/office/drawing/2014/main" id="{CF3790D8-B841-8926-0C00-D5A31FE1013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4828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0F0E49-E315-4B02-C5B2-98188E1E32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272D9A6-C880-7281-465C-F0172A43DF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8424150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Data suitability</a:t>
            </a:r>
            <a:endParaRPr lang="en-US" dirty="0">
              <a:latin typeface="Trebuchet MS" panose="020B0603020202020204" pitchFamily="34" charset="0"/>
            </a:endParaRPr>
          </a:p>
        </p:txBody>
      </p:sp>
      <p:sp>
        <p:nvSpPr>
          <p:cNvPr id="11" name="Rectangle: Rounded Corners 10">
            <a:hlinkClick r:id="rId2" action="ppaction://hlinksldjump"/>
            <a:extLst>
              <a:ext uri="{FF2B5EF4-FFF2-40B4-BE49-F238E27FC236}">
                <a16:creationId xmlns:a16="http://schemas.microsoft.com/office/drawing/2014/main" id="{568A0F49-49B7-94AB-3134-DAB0692D9933}"/>
              </a:ext>
            </a:extLst>
          </p:cNvPr>
          <p:cNvSpPr/>
          <p:nvPr/>
        </p:nvSpPr>
        <p:spPr>
          <a:xfrm>
            <a:off x="10191750" y="626400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Use it-&gt;</a:t>
            </a:r>
          </a:p>
        </p:txBody>
      </p:sp>
      <p:sp>
        <p:nvSpPr>
          <p:cNvPr id="13" name="Rectangle: Rounded Corners 12">
            <a:hlinkClick r:id="rId3" action="ppaction://hlinksldjump"/>
            <a:extLst>
              <a:ext uri="{FF2B5EF4-FFF2-40B4-BE49-F238E27FC236}">
                <a16:creationId xmlns:a16="http://schemas.microsoft.com/office/drawing/2014/main" id="{5F960063-DA99-7637-2FC5-5E37B1BF7D82}"/>
              </a:ext>
            </a:extLst>
          </p:cNvPr>
          <p:cNvSpPr/>
          <p:nvPr/>
        </p:nvSpPr>
        <p:spPr>
          <a:xfrm>
            <a:off x="8653895" y="626400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Use it</a:t>
            </a:r>
          </a:p>
        </p:txBody>
      </p:sp>
      <p:sp>
        <p:nvSpPr>
          <p:cNvPr id="26" name="Footer Placeholder 53">
            <a:extLst>
              <a:ext uri="{FF2B5EF4-FFF2-40B4-BE49-F238E27FC236}">
                <a16:creationId xmlns:a16="http://schemas.microsoft.com/office/drawing/2014/main" id="{A46C0D51-3B60-9646-0FBD-2B10299F95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27" name="Rectangle: Rounded Corners 26">
            <a:hlinkClick r:id="rId4" action="ppaction://hlinksldjump"/>
            <a:extLst>
              <a:ext uri="{FF2B5EF4-FFF2-40B4-BE49-F238E27FC236}">
                <a16:creationId xmlns:a16="http://schemas.microsoft.com/office/drawing/2014/main" id="{DAE04E65-1544-6A92-BE0D-01445C29A776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28" name="Rectangle: Rounded Corners 27">
            <a:hlinkClick r:id="rId5" action="ppaction://hlinksldjump"/>
            <a:extLst>
              <a:ext uri="{FF2B5EF4-FFF2-40B4-BE49-F238E27FC236}">
                <a16:creationId xmlns:a16="http://schemas.microsoft.com/office/drawing/2014/main" id="{F02C09A4-D511-0B22-BE0A-D6C2C2568493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pic>
        <p:nvPicPr>
          <p:cNvPr id="3" name="Picture 2" descr="A graph of a graph of a graph of a graph of a graph of a graph of a graph of a graph of a graph of a graph of a graph of a graph of a graph of&#10;&#10;AI-generated content may be incorrect.">
            <a:extLst>
              <a:ext uri="{FF2B5EF4-FFF2-40B4-BE49-F238E27FC236}">
                <a16:creationId xmlns:a16="http://schemas.microsoft.com/office/drawing/2014/main" id="{2C55D51F-76A1-B375-0287-DA50C26FE8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3653" y="4408143"/>
            <a:ext cx="5731510" cy="243459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5188E0A-D019-834C-DB66-EC1D0823AAA7}"/>
              </a:ext>
            </a:extLst>
          </p:cNvPr>
          <p:cNvSpPr txBox="1"/>
          <p:nvPr/>
        </p:nvSpPr>
        <p:spPr>
          <a:xfrm>
            <a:off x="407657" y="1355015"/>
            <a:ext cx="30043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latin typeface="Trebuchet MS" panose="020B0603020202020204" pitchFamily="34" charset="0"/>
              </a:rPr>
              <a:t>Which data to pick?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37A99F0-EDAB-200D-F973-02335BD2628B}"/>
              </a:ext>
            </a:extLst>
          </p:cNvPr>
          <p:cNvSpPr txBox="1"/>
          <p:nvPr/>
        </p:nvSpPr>
        <p:spPr>
          <a:xfrm>
            <a:off x="6363653" y="1401180"/>
            <a:ext cx="55870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latin typeface="Trebuchet MS" panose="020B0603020202020204" pitchFamily="34" charset="0"/>
              </a:rPr>
              <a:t>When do you need high resolution data?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0797B26-F88D-75FF-2BBA-A8D4928DB969}"/>
              </a:ext>
            </a:extLst>
          </p:cNvPr>
          <p:cNvCxnSpPr/>
          <p:nvPr/>
        </p:nvCxnSpPr>
        <p:spPr>
          <a:xfrm flipV="1">
            <a:off x="6121400" y="1355015"/>
            <a:ext cx="0" cy="5487718"/>
          </a:xfrm>
          <a:prstGeom prst="line">
            <a:avLst/>
          </a:prstGeom>
          <a:ln w="28575">
            <a:solidFill>
              <a:srgbClr val="FEEC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39" descr="A diagram of a flowchart&#10;&#10;AI-generated content may be incorrect.">
            <a:extLst>
              <a:ext uri="{FF2B5EF4-FFF2-40B4-BE49-F238E27FC236}">
                <a16:creationId xmlns:a16="http://schemas.microsoft.com/office/drawing/2014/main" id="{1F14F07E-C93D-9006-A0B1-F2981B7DD0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355" y="1773864"/>
            <a:ext cx="5087154" cy="508715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CF1144E2-6549-42C0-13E9-A1DD35E5C164}"/>
              </a:ext>
            </a:extLst>
          </p:cNvPr>
          <p:cNvSpPr txBox="1"/>
          <p:nvPr/>
        </p:nvSpPr>
        <p:spPr>
          <a:xfrm>
            <a:off x="6737046" y="2967334"/>
            <a:ext cx="18741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Trebuchet MS" panose="020B0603020202020204" pitchFamily="34" charset="0"/>
              </a:rPr>
              <a:t>High Flow in fast response catchment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F8394D4-4F4B-11DD-23E3-F51BE3D0ADFA}"/>
              </a:ext>
            </a:extLst>
          </p:cNvPr>
          <p:cNvSpPr txBox="1"/>
          <p:nvPr/>
        </p:nvSpPr>
        <p:spPr>
          <a:xfrm>
            <a:off x="9797506" y="2828835"/>
            <a:ext cx="18741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Trebuchet MS" panose="020B0603020202020204" pitchFamily="34" charset="0"/>
              </a:rPr>
              <a:t>High Flow in  groundwater dominated catchmen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C9FBA25-1BD2-F632-477A-143022BC0839}"/>
              </a:ext>
            </a:extLst>
          </p:cNvPr>
          <p:cNvSpPr txBox="1"/>
          <p:nvPr/>
        </p:nvSpPr>
        <p:spPr>
          <a:xfrm>
            <a:off x="9071857" y="3244333"/>
            <a:ext cx="3914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Trebuchet MS" panose="020B0603020202020204" pitchFamily="34" charset="0"/>
              </a:rPr>
              <a:t>vs</a:t>
            </a:r>
          </a:p>
        </p:txBody>
      </p:sp>
      <p:pic>
        <p:nvPicPr>
          <p:cNvPr id="44" name="Picture 43" descr="A blue and white logo&#10;&#10;AI-generated content may be incorrect.">
            <a:extLst>
              <a:ext uri="{FF2B5EF4-FFF2-40B4-BE49-F238E27FC236}">
                <a16:creationId xmlns:a16="http://schemas.microsoft.com/office/drawing/2014/main" id="{BB620859-E4C4-CA5B-6F4D-BB403CDD255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8780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36CC6B-2740-5AEE-6D07-A6496C0D9D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6F8841-91BD-9FE8-6875-04AAA8287052}"/>
              </a:ext>
            </a:extLst>
          </p:cNvPr>
          <p:cNvSpPr/>
          <p:nvPr/>
        </p:nvSpPr>
        <p:spPr>
          <a:xfrm>
            <a:off x="217601" y="1201833"/>
            <a:ext cx="7230001" cy="52866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BF617D-FC31-33A8-393D-356A76678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8424150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Artefact removal</a:t>
            </a:r>
            <a:endParaRPr lang="en-US" dirty="0">
              <a:latin typeface="Trebuchet MS" panose="020B0603020202020204" pitchFamily="34" charset="0"/>
            </a:endParaRPr>
          </a:p>
        </p:txBody>
      </p:sp>
      <p:sp>
        <p:nvSpPr>
          <p:cNvPr id="11" name="Rectangle: Rounded Corners 10">
            <a:hlinkClick r:id="rId2" action="ppaction://hlinksldjump"/>
            <a:extLst>
              <a:ext uri="{FF2B5EF4-FFF2-40B4-BE49-F238E27FC236}">
                <a16:creationId xmlns:a16="http://schemas.microsoft.com/office/drawing/2014/main" id="{34091E6B-0DB7-FC39-7374-F25F096CD84A}"/>
              </a:ext>
            </a:extLst>
          </p:cNvPr>
          <p:cNvSpPr/>
          <p:nvPr/>
        </p:nvSpPr>
        <p:spPr>
          <a:xfrm>
            <a:off x="10191750" y="626400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Use it-&gt;</a:t>
            </a:r>
          </a:p>
        </p:txBody>
      </p:sp>
      <p:sp>
        <p:nvSpPr>
          <p:cNvPr id="13" name="Rectangle: Rounded Corners 12">
            <a:hlinkClick r:id="rId3" action="ppaction://hlinksldjump"/>
            <a:extLst>
              <a:ext uri="{FF2B5EF4-FFF2-40B4-BE49-F238E27FC236}">
                <a16:creationId xmlns:a16="http://schemas.microsoft.com/office/drawing/2014/main" id="{9844861D-D85B-2E61-441D-463DB18C9CE5}"/>
              </a:ext>
            </a:extLst>
          </p:cNvPr>
          <p:cNvSpPr/>
          <p:nvPr/>
        </p:nvSpPr>
        <p:spPr>
          <a:xfrm>
            <a:off x="8653895" y="626400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Use i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EC110B1-73C1-6247-6455-E43BFC5203B7}"/>
              </a:ext>
            </a:extLst>
          </p:cNvPr>
          <p:cNvSpPr txBox="1"/>
          <p:nvPr/>
        </p:nvSpPr>
        <p:spPr>
          <a:xfrm>
            <a:off x="10087408" y="3429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>
              <a:latin typeface="Trebuchet MS" panose="020B0603020202020204" pitchFamily="34" charset="0"/>
            </a:endParaRPr>
          </a:p>
        </p:txBody>
      </p:sp>
      <p:sp>
        <p:nvSpPr>
          <p:cNvPr id="26" name="Footer Placeholder 53">
            <a:extLst>
              <a:ext uri="{FF2B5EF4-FFF2-40B4-BE49-F238E27FC236}">
                <a16:creationId xmlns:a16="http://schemas.microsoft.com/office/drawing/2014/main" id="{E656C296-60B5-4623-6F97-265863B1218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27" name="Rectangle: Rounded Corners 26">
            <a:hlinkClick r:id="rId4" action="ppaction://hlinksldjump"/>
            <a:extLst>
              <a:ext uri="{FF2B5EF4-FFF2-40B4-BE49-F238E27FC236}">
                <a16:creationId xmlns:a16="http://schemas.microsoft.com/office/drawing/2014/main" id="{BB455C14-001C-A7AC-2D69-D9DBBB06EB34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28" name="Rectangle: Rounded Corners 27">
            <a:hlinkClick r:id="rId5" action="ppaction://hlinksldjump"/>
            <a:extLst>
              <a:ext uri="{FF2B5EF4-FFF2-40B4-BE49-F238E27FC236}">
                <a16:creationId xmlns:a16="http://schemas.microsoft.com/office/drawing/2014/main" id="{938FB645-C690-CEEA-2305-32D5F58A61BB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pic>
        <p:nvPicPr>
          <p:cNvPr id="29" name="Picture 28" descr="A qr code with a white background&#10;&#10;AI-generated content may be incorrect.">
            <a:extLst>
              <a:ext uri="{FF2B5EF4-FFF2-40B4-BE49-F238E27FC236}">
                <a16:creationId xmlns:a16="http://schemas.microsoft.com/office/drawing/2014/main" id="{5E69EBF3-6ADF-0F93-B5A9-D31E5174C5D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7779" y="4897124"/>
            <a:ext cx="1080000" cy="10800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8458BA8-BD4F-8A92-1B74-F18E549AA2F4}"/>
              </a:ext>
            </a:extLst>
          </p:cNvPr>
          <p:cNvSpPr txBox="1"/>
          <p:nvPr/>
        </p:nvSpPr>
        <p:spPr>
          <a:xfrm>
            <a:off x="4073914" y="5977124"/>
            <a:ext cx="10800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Trebuchet MS" panose="020B0603020202020204" pitchFamily="34" charset="0"/>
                <a:hlinkClick r:id="rId7"/>
              </a:rPr>
              <a:t>(Fileni et al, in review, a)</a:t>
            </a:r>
            <a:endParaRPr lang="en-GB" sz="1200" dirty="0">
              <a:latin typeface="Trebuchet MS" panose="020B0603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B62C0B2-772D-54D5-9541-5F66A2F6730A}"/>
              </a:ext>
            </a:extLst>
          </p:cNvPr>
          <p:cNvSpPr txBox="1"/>
          <p:nvPr/>
        </p:nvSpPr>
        <p:spPr>
          <a:xfrm>
            <a:off x="4234043" y="4570770"/>
            <a:ext cx="8006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Trebuchet MS" panose="020B0603020202020204" pitchFamily="34" charset="0"/>
              </a:rPr>
              <a:t>Pap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645F5D6-E2D5-9763-29A2-440EFB428439}"/>
              </a:ext>
            </a:extLst>
          </p:cNvPr>
          <p:cNvSpPr txBox="1"/>
          <p:nvPr/>
        </p:nvSpPr>
        <p:spPr>
          <a:xfrm>
            <a:off x="6451264" y="6001060"/>
            <a:ext cx="6751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latin typeface="Trebuchet MS" panose="020B0603020202020204" pitchFamily="34" charset="0"/>
                <a:hlinkClick r:id="rId8"/>
              </a:rPr>
              <a:t>(Fileni)</a:t>
            </a:r>
            <a:endParaRPr lang="en-GB" sz="1200" dirty="0">
              <a:latin typeface="Trebuchet MS" panose="020B0603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E3E1860-8D29-5020-B138-878F8241368E}"/>
              </a:ext>
            </a:extLst>
          </p:cNvPr>
          <p:cNvSpPr txBox="1"/>
          <p:nvPr/>
        </p:nvSpPr>
        <p:spPr>
          <a:xfrm>
            <a:off x="6294972" y="4602911"/>
            <a:ext cx="9076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>
                <a:latin typeface="Trebuchet MS" panose="020B0603020202020204" pitchFamily="34" charset="0"/>
              </a:rPr>
              <a:t>Github</a:t>
            </a:r>
            <a:endParaRPr lang="en-GB" b="1" dirty="0">
              <a:latin typeface="Trebuchet MS" panose="020B0603020202020204" pitchFamily="34" charset="0"/>
            </a:endParaRPr>
          </a:p>
        </p:txBody>
      </p:sp>
      <p:pic>
        <p:nvPicPr>
          <p:cNvPr id="35" name="Picture 34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60A404B3-72C9-DAC5-AFC9-C16F9776359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2445" y="4948595"/>
            <a:ext cx="1080000" cy="10800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55C1C26-250A-D584-1549-EB5ABCA985EE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0996" y="1079259"/>
            <a:ext cx="7230001" cy="523695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7C1C085-6A02-3CC5-DDCF-A85B9B3548F0}"/>
              </a:ext>
            </a:extLst>
          </p:cNvPr>
          <p:cNvSpPr txBox="1"/>
          <p:nvPr/>
        </p:nvSpPr>
        <p:spPr>
          <a:xfrm>
            <a:off x="7447602" y="1333718"/>
            <a:ext cx="4817028" cy="5724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200" b="1" dirty="0">
                <a:latin typeface="Trebuchet MS" panose="020B0603020202020204" pitchFamily="34" charset="0"/>
              </a:rPr>
              <a:t>UK-Flow15 data</a:t>
            </a:r>
          </a:p>
          <a:p>
            <a:endParaRPr lang="en-GB" sz="2200" dirty="0">
              <a:latin typeface="Trebuchet MS" panose="020B0603020202020204" pitchFamily="34" charset="0"/>
            </a:endParaRPr>
          </a:p>
          <a:p>
            <a:r>
              <a:rPr lang="en-GB" sz="2200" b="1" dirty="0">
                <a:latin typeface="Trebuchet MS" panose="020B0603020202020204" pitchFamily="34" charset="0"/>
              </a:rPr>
              <a:t>Open access: </a:t>
            </a:r>
            <a:r>
              <a:rPr lang="en-GB" sz="2200" dirty="0">
                <a:latin typeface="Trebuchet MS" panose="020B0603020202020204" pitchFamily="34" charset="0"/>
              </a:rPr>
              <a:t>all available data is provided to the user </a:t>
            </a:r>
          </a:p>
          <a:p>
            <a:endParaRPr lang="en-GB" sz="2200" dirty="0">
              <a:latin typeface="Trebuchet MS" panose="020B0603020202020204" pitchFamily="34" charset="0"/>
            </a:endParaRPr>
          </a:p>
          <a:p>
            <a:r>
              <a:rPr lang="en-GB" sz="2200" b="1" dirty="0">
                <a:latin typeface="Trebuchet MS" panose="020B0603020202020204" pitchFamily="34" charset="0"/>
              </a:rPr>
              <a:t>User responsibility: </a:t>
            </a:r>
            <a:r>
              <a:rPr lang="en-GB" sz="2200" dirty="0">
                <a:latin typeface="Trebuchet MS" panose="020B0603020202020204" pitchFamily="34" charset="0"/>
              </a:rPr>
              <a:t>data suitability depends on the analysis → filtering may be required</a:t>
            </a:r>
          </a:p>
          <a:p>
            <a:r>
              <a:rPr lang="en-GB" sz="2200" dirty="0">
                <a:latin typeface="Trebuchet MS" panose="020B0603020202020204" pitchFamily="34" charset="0"/>
              </a:rPr>
              <a:t> </a:t>
            </a:r>
          </a:p>
          <a:p>
            <a:r>
              <a:rPr lang="en-GB" sz="2200" b="1" dirty="0">
                <a:latin typeface="Trebuchet MS" panose="020B0603020202020204" pitchFamily="34" charset="0"/>
              </a:rPr>
              <a:t>Transparent QC: </a:t>
            </a:r>
            <a:r>
              <a:rPr lang="en-GB" sz="2200" dirty="0">
                <a:latin typeface="Trebuchet MS" panose="020B0603020202020204" pitchFamily="34" charset="0"/>
              </a:rPr>
              <a:t>data are flagged, not removed </a:t>
            </a:r>
          </a:p>
          <a:p>
            <a:endParaRPr lang="en-GB" sz="2200" dirty="0">
              <a:latin typeface="Trebuchet MS" panose="020B0603020202020204" pitchFamily="34" charset="0"/>
            </a:endParaRPr>
          </a:p>
          <a:p>
            <a:r>
              <a:rPr lang="en-GB" sz="2200" b="1" dirty="0">
                <a:latin typeface="Trebuchet MS" panose="020B0603020202020204" pitchFamily="34" charset="0"/>
              </a:rPr>
              <a:t>Reproducibility: </a:t>
            </a:r>
            <a:r>
              <a:rPr lang="en-GB" sz="2200" dirty="0">
                <a:latin typeface="Trebuchet MS" panose="020B0603020202020204" pitchFamily="34" charset="0"/>
              </a:rPr>
              <a:t>clear procedures provided for high-flow screening and filtering</a:t>
            </a:r>
          </a:p>
          <a:p>
            <a:endParaRPr lang="en-GB" dirty="0">
              <a:latin typeface="Trebuchet MS" panose="020B0603020202020204" pitchFamily="34" charset="0"/>
            </a:endParaRPr>
          </a:p>
          <a:p>
            <a:endParaRPr lang="en-GB" dirty="0">
              <a:latin typeface="Trebuchet MS" panose="020B0603020202020204" pitchFamily="34" charset="0"/>
            </a:endParaRPr>
          </a:p>
        </p:txBody>
      </p:sp>
      <p:pic>
        <p:nvPicPr>
          <p:cNvPr id="9" name="Picture 8" descr="A blue and white logo&#10;&#10;AI-generated content may be incorrect.">
            <a:extLst>
              <a:ext uri="{FF2B5EF4-FFF2-40B4-BE49-F238E27FC236}">
                <a16:creationId xmlns:a16="http://schemas.microsoft.com/office/drawing/2014/main" id="{BD3198CB-DA05-7FF6-458A-A2F33DD985D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4517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AC8E29-58D5-130B-A375-ED20CCB07B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924B3CD-83E1-D071-BB1A-B912158B6B32}"/>
              </a:ext>
            </a:extLst>
          </p:cNvPr>
          <p:cNvSpPr/>
          <p:nvPr/>
        </p:nvSpPr>
        <p:spPr>
          <a:xfrm>
            <a:off x="5981700" y="1749600"/>
            <a:ext cx="5979526" cy="49522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400E66C-FFA2-5404-4E9E-D66C5EBF05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8424150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Hydrological modelling example</a:t>
            </a:r>
            <a:endParaRPr lang="en-US" dirty="0">
              <a:latin typeface="Trebuchet MS" panose="020B0603020202020204" pitchFamily="34" charset="0"/>
            </a:endParaRPr>
          </a:p>
        </p:txBody>
      </p:sp>
      <p:pic>
        <p:nvPicPr>
          <p:cNvPr id="5" name="Main graphic">
            <a:extLst>
              <a:ext uri="{FF2B5EF4-FFF2-40B4-BE49-F238E27FC236}">
                <a16:creationId xmlns:a16="http://schemas.microsoft.com/office/drawing/2014/main" id="{5167A5DF-E7BF-4510-26B7-220DB50C784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>
          <a:xfrm>
            <a:off x="6288315" y="1844525"/>
            <a:ext cx="5672911" cy="4782636"/>
          </a:xfrm>
          <a:prstGeom prst="rect">
            <a:avLst/>
          </a:prstGeom>
          <a:ln>
            <a:noFill/>
          </a:ln>
        </p:spPr>
      </p:pic>
      <p:sp>
        <p:nvSpPr>
          <p:cNvPr id="10" name="Rectangle: Rounded Corners 9">
            <a:hlinkClick r:id="rId3" action="ppaction://hlinksldjump"/>
            <a:extLst>
              <a:ext uri="{FF2B5EF4-FFF2-40B4-BE49-F238E27FC236}">
                <a16:creationId xmlns:a16="http://schemas.microsoft.com/office/drawing/2014/main" id="{2DD2759E-A052-3809-E0BB-4D38F9D7FC5C}"/>
              </a:ext>
            </a:extLst>
          </p:cNvPr>
          <p:cNvSpPr/>
          <p:nvPr/>
        </p:nvSpPr>
        <p:spPr>
          <a:xfrm>
            <a:off x="10191750" y="626400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Use it-&gt;</a:t>
            </a:r>
          </a:p>
        </p:txBody>
      </p:sp>
      <p:sp>
        <p:nvSpPr>
          <p:cNvPr id="11" name="Rectangle: Rounded Corners 10">
            <a:hlinkClick r:id="rId4" action="ppaction://hlinksldjump"/>
            <a:extLst>
              <a:ext uri="{FF2B5EF4-FFF2-40B4-BE49-F238E27FC236}">
                <a16:creationId xmlns:a16="http://schemas.microsoft.com/office/drawing/2014/main" id="{EB67A1DA-EC0C-807D-DD7D-D8DF71DB3381}"/>
              </a:ext>
            </a:extLst>
          </p:cNvPr>
          <p:cNvSpPr/>
          <p:nvPr/>
        </p:nvSpPr>
        <p:spPr>
          <a:xfrm>
            <a:off x="8653895" y="626400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Use it</a:t>
            </a:r>
          </a:p>
        </p:txBody>
      </p:sp>
      <p:sp>
        <p:nvSpPr>
          <p:cNvPr id="14" name="Rectangle: Rounded Corners 13">
            <a:hlinkClick r:id="rId3" action="ppaction://hlinksldjump"/>
            <a:extLst>
              <a:ext uri="{FF2B5EF4-FFF2-40B4-BE49-F238E27FC236}">
                <a16:creationId xmlns:a16="http://schemas.microsoft.com/office/drawing/2014/main" id="{4111C7A9-4E8F-3929-C1F9-0F455E7C9ED4}"/>
              </a:ext>
            </a:extLst>
          </p:cNvPr>
          <p:cNvSpPr/>
          <p:nvPr/>
        </p:nvSpPr>
        <p:spPr>
          <a:xfrm>
            <a:off x="10191750" y="1188000"/>
            <a:ext cx="1433513" cy="465103"/>
          </a:xfrm>
          <a:prstGeom prst="round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Apply it -&gt;</a:t>
            </a:r>
          </a:p>
        </p:txBody>
      </p:sp>
      <p:pic>
        <p:nvPicPr>
          <p:cNvPr id="16" name="Picture 15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1687594B-EE50-9EA4-CEC7-5803CF1A58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8393" y="5344886"/>
            <a:ext cx="1080000" cy="10800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3B82D39-4D93-F5B9-08B8-5E722486C050}"/>
              </a:ext>
            </a:extLst>
          </p:cNvPr>
          <p:cNvSpPr txBox="1"/>
          <p:nvPr/>
        </p:nvSpPr>
        <p:spPr>
          <a:xfrm>
            <a:off x="4788897" y="6424886"/>
            <a:ext cx="9449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latin typeface="Trebuchet MS" panose="020B0603020202020204" pitchFamily="34" charset="0"/>
                <a:hlinkClick r:id="rId6"/>
              </a:rPr>
              <a:t>(Kay, 2026)</a:t>
            </a:r>
            <a:endParaRPr lang="en-GB" sz="1200" dirty="0">
              <a:latin typeface="Trebuchet MS" panose="020B0603020202020204" pitchFamily="34" charset="0"/>
            </a:endParaRPr>
          </a:p>
        </p:txBody>
      </p:sp>
      <p:sp>
        <p:nvSpPr>
          <p:cNvPr id="27" name="Footer Placeholder 53">
            <a:extLst>
              <a:ext uri="{FF2B5EF4-FFF2-40B4-BE49-F238E27FC236}">
                <a16:creationId xmlns:a16="http://schemas.microsoft.com/office/drawing/2014/main" id="{6217A210-679D-2715-4F4D-5509A4AC30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28" name="Rectangle: Rounded Corners 27">
            <a:hlinkClick r:id="rId7" action="ppaction://hlinksldjump"/>
            <a:extLst>
              <a:ext uri="{FF2B5EF4-FFF2-40B4-BE49-F238E27FC236}">
                <a16:creationId xmlns:a16="http://schemas.microsoft.com/office/drawing/2014/main" id="{5C7C0972-1BC0-AF0F-08A4-4CAB8D6262CE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29" name="Rectangle: Rounded Corners 28">
            <a:hlinkClick r:id="rId8" action="ppaction://hlinksldjump"/>
            <a:extLst>
              <a:ext uri="{FF2B5EF4-FFF2-40B4-BE49-F238E27FC236}">
                <a16:creationId xmlns:a16="http://schemas.microsoft.com/office/drawing/2014/main" id="{E3997211-70C5-7D5F-12B4-DFB61967A64B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2742D4B-8F6D-784C-1092-DA8AEA82D378}"/>
              </a:ext>
            </a:extLst>
          </p:cNvPr>
          <p:cNvSpPr txBox="1"/>
          <p:nvPr/>
        </p:nvSpPr>
        <p:spPr>
          <a:xfrm>
            <a:off x="218667" y="1568090"/>
            <a:ext cx="5763033" cy="5663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200" dirty="0">
                <a:latin typeface="Trebuchet MS" panose="020B0603020202020204" pitchFamily="34" charset="0"/>
              </a:rPr>
              <a:t>Impacts of using sub-daily outputs for future-flood estimat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Flood increases are consistently higher when models are calibrated at hourly resolution</a:t>
            </a:r>
            <a:br>
              <a:rPr lang="en-GB" sz="2200" dirty="0">
                <a:latin typeface="Trebuchet MS" panose="020B0603020202020204" pitchFamily="34" charset="0"/>
              </a:rPr>
            </a:br>
            <a:r>
              <a:rPr lang="en-GB" sz="2200" dirty="0">
                <a:latin typeface="Trebuchet MS" panose="020B0603020202020204" pitchFamily="34" charset="0"/>
              </a:rPr>
              <a:t>(median ≈ +11.8% at the 10-year return period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The effect is amplified in smaller catchments</a:t>
            </a:r>
            <a:br>
              <a:rPr lang="en-GB" sz="2200" dirty="0">
                <a:latin typeface="Trebuchet MS" panose="020B0603020202020204" pitchFamily="34" charset="0"/>
              </a:rPr>
            </a:br>
            <a:r>
              <a:rPr lang="en-GB" sz="2200" dirty="0">
                <a:latin typeface="Trebuchet MS" panose="020B0603020202020204" pitchFamily="34" charset="0"/>
              </a:rPr>
              <a:t>(median ≈ +12% at 10-year RP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The strongest increases occur in north-west UK, particularly for small catchments</a:t>
            </a:r>
            <a:br>
              <a:rPr lang="en-GB" sz="2200" dirty="0">
                <a:latin typeface="Trebuchet MS" panose="020B0603020202020204" pitchFamily="34" charset="0"/>
              </a:rPr>
            </a:br>
            <a:r>
              <a:rPr lang="en-GB" sz="2200" dirty="0">
                <a:latin typeface="Trebuchet MS" panose="020B0603020202020204" pitchFamily="34" charset="0"/>
              </a:rPr>
              <a:t>(median ≈ +16% at 10-year R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Trebuchet MS" panose="020B0603020202020204" pitchFamily="34" charset="0"/>
            </a:endParaRPr>
          </a:p>
          <a:p>
            <a:endParaRPr lang="en-GB" dirty="0">
              <a:latin typeface="Trebuchet MS" panose="020B0603020202020204" pitchFamily="34" charset="0"/>
            </a:endParaRPr>
          </a:p>
          <a:p>
            <a:endParaRPr lang="en-GB" dirty="0">
              <a:latin typeface="Trebuchet MS" panose="020B0603020202020204" pitchFamily="34" charset="0"/>
            </a:endParaRPr>
          </a:p>
        </p:txBody>
      </p:sp>
      <p:pic>
        <p:nvPicPr>
          <p:cNvPr id="3" name="Picture 2" descr="A blue and white logo&#10;&#10;AI-generated content may be incorrect.">
            <a:extLst>
              <a:ext uri="{FF2B5EF4-FFF2-40B4-BE49-F238E27FC236}">
                <a16:creationId xmlns:a16="http://schemas.microsoft.com/office/drawing/2014/main" id="{271AC7EC-48A6-CC5B-4BFF-E1A56D58753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084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C8DEAD-F68E-95E4-26EC-8D8DDD072F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0B999-0734-31CA-90FA-E1A18BC826DF}"/>
              </a:ext>
            </a:extLst>
          </p:cNvPr>
          <p:cNvSpPr/>
          <p:nvPr/>
        </p:nvSpPr>
        <p:spPr>
          <a:xfrm>
            <a:off x="6362700" y="1749600"/>
            <a:ext cx="5598525" cy="49522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B7124FF-40D3-49EA-6966-CFC5A1575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8424150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vent study example</a:t>
            </a:r>
            <a:endParaRPr lang="en-US" dirty="0">
              <a:latin typeface="Trebuchet MS" panose="020B0603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5EE5D3A-9D46-C581-BFCF-CC993AD5649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1600" y="4635783"/>
            <a:ext cx="5451027" cy="2066101"/>
          </a:xfrm>
          <a:prstGeom prst="rect">
            <a:avLst/>
          </a:prstGeom>
          <a:noFill/>
        </p:spPr>
      </p:pic>
      <p:pic>
        <p:nvPicPr>
          <p:cNvPr id="9" name="Picture 8" descr="A colorful map with different colored lines&#10;&#10;AI-generated content may be incorrect.">
            <a:extLst>
              <a:ext uri="{FF2B5EF4-FFF2-40B4-BE49-F238E27FC236}">
                <a16:creationId xmlns:a16="http://schemas.microsoft.com/office/drawing/2014/main" id="{C671BC88-9EC3-BED0-29B9-70332C94BC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1600" y="1816615"/>
            <a:ext cx="5386150" cy="2662176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ctangle: Rounded Corners 11">
            <a:hlinkClick r:id="rId4" action="ppaction://hlinksldjump"/>
            <a:extLst>
              <a:ext uri="{FF2B5EF4-FFF2-40B4-BE49-F238E27FC236}">
                <a16:creationId xmlns:a16="http://schemas.microsoft.com/office/drawing/2014/main" id="{DE0AC2AC-F03E-F46A-8AEA-485332577E1C}"/>
              </a:ext>
            </a:extLst>
          </p:cNvPr>
          <p:cNvSpPr/>
          <p:nvPr/>
        </p:nvSpPr>
        <p:spPr>
          <a:xfrm>
            <a:off x="10191750" y="626400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Use it-&gt;</a:t>
            </a:r>
          </a:p>
        </p:txBody>
      </p:sp>
      <p:sp>
        <p:nvSpPr>
          <p:cNvPr id="13" name="Rectangle: Rounded Corners 12">
            <a:hlinkClick r:id="rId5" action="ppaction://hlinksldjump"/>
            <a:extLst>
              <a:ext uri="{FF2B5EF4-FFF2-40B4-BE49-F238E27FC236}">
                <a16:creationId xmlns:a16="http://schemas.microsoft.com/office/drawing/2014/main" id="{80329018-8586-59E3-CEA1-CD46D0FFBF69}"/>
              </a:ext>
            </a:extLst>
          </p:cNvPr>
          <p:cNvSpPr/>
          <p:nvPr/>
        </p:nvSpPr>
        <p:spPr>
          <a:xfrm>
            <a:off x="8653895" y="626400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Use it</a:t>
            </a:r>
          </a:p>
        </p:txBody>
      </p:sp>
      <p:sp>
        <p:nvSpPr>
          <p:cNvPr id="14" name="Rectangle: Rounded Corners 13">
            <a:hlinkClick r:id="rId5" action="ppaction://hlinksldjump"/>
            <a:extLst>
              <a:ext uri="{FF2B5EF4-FFF2-40B4-BE49-F238E27FC236}">
                <a16:creationId xmlns:a16="http://schemas.microsoft.com/office/drawing/2014/main" id="{207238A5-7F4A-014D-C55E-EF48CF8ACC88}"/>
              </a:ext>
            </a:extLst>
          </p:cNvPr>
          <p:cNvSpPr/>
          <p:nvPr/>
        </p:nvSpPr>
        <p:spPr>
          <a:xfrm>
            <a:off x="8653895" y="1188000"/>
            <a:ext cx="1433513" cy="465103"/>
          </a:xfrm>
          <a:prstGeom prst="round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Apply it</a:t>
            </a:r>
          </a:p>
        </p:txBody>
      </p:sp>
      <p:sp>
        <p:nvSpPr>
          <p:cNvPr id="15" name="Rectangle: Rounded Corners 14">
            <a:hlinkClick r:id="rId4" action="ppaction://hlinksldjump"/>
            <a:extLst>
              <a:ext uri="{FF2B5EF4-FFF2-40B4-BE49-F238E27FC236}">
                <a16:creationId xmlns:a16="http://schemas.microsoft.com/office/drawing/2014/main" id="{19E667AF-4FEE-DFFD-3BCF-A63E3385F139}"/>
              </a:ext>
            </a:extLst>
          </p:cNvPr>
          <p:cNvSpPr/>
          <p:nvPr/>
        </p:nvSpPr>
        <p:spPr>
          <a:xfrm>
            <a:off x="10191750" y="1188000"/>
            <a:ext cx="1433513" cy="465103"/>
          </a:xfrm>
          <a:prstGeom prst="round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Apply it -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78F3BB-CEA3-7884-6177-8871BD0BEDE5}"/>
              </a:ext>
            </a:extLst>
          </p:cNvPr>
          <p:cNvSpPr txBox="1"/>
          <p:nvPr/>
        </p:nvSpPr>
        <p:spPr>
          <a:xfrm>
            <a:off x="6545402" y="6308070"/>
            <a:ext cx="19479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latin typeface="Trebuchet MS" panose="020B0603020202020204" pitchFamily="34" charset="0"/>
              </a:rPr>
              <a:t>(Archer et al., submitted)</a:t>
            </a:r>
          </a:p>
        </p:txBody>
      </p:sp>
      <p:sp>
        <p:nvSpPr>
          <p:cNvPr id="25" name="Footer Placeholder 53">
            <a:extLst>
              <a:ext uri="{FF2B5EF4-FFF2-40B4-BE49-F238E27FC236}">
                <a16:creationId xmlns:a16="http://schemas.microsoft.com/office/drawing/2014/main" id="{403CC219-355A-D114-D6E3-7067B604A30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26" name="Rectangle: Rounded Corners 25">
            <a:hlinkClick r:id="rId6" action="ppaction://hlinksldjump"/>
            <a:extLst>
              <a:ext uri="{FF2B5EF4-FFF2-40B4-BE49-F238E27FC236}">
                <a16:creationId xmlns:a16="http://schemas.microsoft.com/office/drawing/2014/main" id="{D6E618CB-36ED-C9AD-C206-4212808D779D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27" name="Rectangle: Rounded Corners 26">
            <a:hlinkClick r:id="rId7" action="ppaction://hlinksldjump"/>
            <a:extLst>
              <a:ext uri="{FF2B5EF4-FFF2-40B4-BE49-F238E27FC236}">
                <a16:creationId xmlns:a16="http://schemas.microsoft.com/office/drawing/2014/main" id="{F67F6900-F6D2-12B8-3E00-599B500F01FC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C780C3A-4560-BF9D-5ADB-6BE52B23D6DA}"/>
              </a:ext>
            </a:extLst>
          </p:cNvPr>
          <p:cNvSpPr txBox="1"/>
          <p:nvPr/>
        </p:nvSpPr>
        <p:spPr>
          <a:xfrm>
            <a:off x="442759" y="1747202"/>
            <a:ext cx="5919941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High temporal resolution data captures rapid flood dynamics and impact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200" dirty="0">
              <a:latin typeface="Trebuchet MS" panose="020B0603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Summer convective storms generate extremely fast, localised respons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200" dirty="0">
              <a:latin typeface="Trebuchet MS" panose="020B0603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Combining high-resolution rainfall and flow data enables reconstruction of the full event: </a:t>
            </a:r>
          </a:p>
          <a:p>
            <a:pPr algn="ctr"/>
            <a:r>
              <a:rPr lang="en-GB" sz="2200" dirty="0">
                <a:latin typeface="Trebuchet MS" panose="020B0603020202020204" pitchFamily="34" charset="0"/>
              </a:rPr>
              <a:t>rainfall -&gt; runoff -&gt;dam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200" dirty="0">
              <a:latin typeface="Trebuchet MS" panose="020B0603020202020204" pitchFamily="34" charset="0"/>
            </a:endParaRPr>
          </a:p>
          <a:p>
            <a:pPr algn="r"/>
            <a:r>
              <a:rPr lang="en-GB" sz="2200" dirty="0">
                <a:latin typeface="Trebuchet MS" panose="020B0603020202020204" pitchFamily="34" charset="0"/>
              </a:rPr>
              <a:t>e.g. Keltie Burn, 2004</a:t>
            </a:r>
            <a:endParaRPr lang="en-GB" dirty="0">
              <a:latin typeface="Trebuchet MS" panose="020B0603020202020204" pitchFamily="34" charset="0"/>
            </a:endParaRPr>
          </a:p>
          <a:p>
            <a:pPr marL="285750" indent="-285750">
              <a:buFontTx/>
              <a:buChar char="-"/>
            </a:pPr>
            <a:endParaRPr lang="en-GB" dirty="0">
              <a:latin typeface="Trebuchet MS" panose="020B0603020202020204" pitchFamily="34" charset="0"/>
            </a:endParaRPr>
          </a:p>
        </p:txBody>
      </p:sp>
      <p:pic>
        <p:nvPicPr>
          <p:cNvPr id="11" name="Picture 10" descr="A blue and white logo&#10;&#10;AI-generated content may be incorrect.">
            <a:extLst>
              <a:ext uri="{FF2B5EF4-FFF2-40B4-BE49-F238E27FC236}">
                <a16:creationId xmlns:a16="http://schemas.microsoft.com/office/drawing/2014/main" id="{C552A5A3-C2A7-09C6-85FB-66A6FCDE02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316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F70F0D-5AA0-DB9D-B54D-B8FAC21AF2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3BE7989-6391-A8C1-E5C1-0E067107F21E}"/>
              </a:ext>
            </a:extLst>
          </p:cNvPr>
          <p:cNvSpPr/>
          <p:nvPr/>
        </p:nvSpPr>
        <p:spPr>
          <a:xfrm>
            <a:off x="4226128" y="2018515"/>
            <a:ext cx="7870104" cy="42634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22C85CA-0C17-E1A4-BF26-7CCF03277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8424150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xtremes study example</a:t>
            </a:r>
            <a:endParaRPr lang="en-US" dirty="0">
              <a:latin typeface="Trebuchet MS" panose="020B0603020202020204" pitchFamily="34" charset="0"/>
            </a:endParaRPr>
          </a:p>
        </p:txBody>
      </p:sp>
      <p:pic>
        <p:nvPicPr>
          <p:cNvPr id="5" name="Picture 4" descr="A collage of maps of the united kingdom&#10;&#10;AI-generated content may be incorrect.">
            <a:extLst>
              <a:ext uri="{FF2B5EF4-FFF2-40B4-BE49-F238E27FC236}">
                <a16:creationId xmlns:a16="http://schemas.microsoft.com/office/drawing/2014/main" id="{35106F2B-22F7-A399-3F15-078E1DD5928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94693" y="2138065"/>
            <a:ext cx="7732973" cy="3826708"/>
          </a:xfrm>
          <a:prstGeom prst="rect">
            <a:avLst/>
          </a:prstGeom>
        </p:spPr>
      </p:pic>
      <p:sp>
        <p:nvSpPr>
          <p:cNvPr id="12" name="Rectangle: Rounded Corners 11">
            <a:hlinkClick r:id="rId3" action="ppaction://hlinksldjump"/>
            <a:extLst>
              <a:ext uri="{FF2B5EF4-FFF2-40B4-BE49-F238E27FC236}">
                <a16:creationId xmlns:a16="http://schemas.microsoft.com/office/drawing/2014/main" id="{71E8F586-C43B-22F2-44C1-D84617020E61}"/>
              </a:ext>
            </a:extLst>
          </p:cNvPr>
          <p:cNvSpPr/>
          <p:nvPr/>
        </p:nvSpPr>
        <p:spPr>
          <a:xfrm>
            <a:off x="10191750" y="626400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Use it-&gt;</a:t>
            </a:r>
          </a:p>
        </p:txBody>
      </p:sp>
      <p:sp>
        <p:nvSpPr>
          <p:cNvPr id="13" name="Rectangle: Rounded Corners 12">
            <a:hlinkClick r:id="rId4" action="ppaction://hlinksldjump"/>
            <a:extLst>
              <a:ext uri="{FF2B5EF4-FFF2-40B4-BE49-F238E27FC236}">
                <a16:creationId xmlns:a16="http://schemas.microsoft.com/office/drawing/2014/main" id="{826A39E4-6326-7FD0-F2B7-887E9D2B2432}"/>
              </a:ext>
            </a:extLst>
          </p:cNvPr>
          <p:cNvSpPr/>
          <p:nvPr/>
        </p:nvSpPr>
        <p:spPr>
          <a:xfrm>
            <a:off x="8653895" y="626400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Use it</a:t>
            </a:r>
          </a:p>
        </p:txBody>
      </p:sp>
      <p:sp>
        <p:nvSpPr>
          <p:cNvPr id="14" name="Rectangle: Rounded Corners 13">
            <a:hlinkClick r:id="rId4" action="ppaction://hlinksldjump"/>
            <a:extLst>
              <a:ext uri="{FF2B5EF4-FFF2-40B4-BE49-F238E27FC236}">
                <a16:creationId xmlns:a16="http://schemas.microsoft.com/office/drawing/2014/main" id="{059FD635-69C5-7B42-E833-CB681008CAD1}"/>
              </a:ext>
            </a:extLst>
          </p:cNvPr>
          <p:cNvSpPr/>
          <p:nvPr/>
        </p:nvSpPr>
        <p:spPr>
          <a:xfrm>
            <a:off x="8653895" y="1188000"/>
            <a:ext cx="1433513" cy="465103"/>
          </a:xfrm>
          <a:prstGeom prst="round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Apply it</a:t>
            </a:r>
          </a:p>
        </p:txBody>
      </p:sp>
      <p:sp>
        <p:nvSpPr>
          <p:cNvPr id="15" name="Rectangle: Rounded Corners 14">
            <a:hlinkClick r:id="rId5" action="ppaction://hlinksldjump"/>
            <a:extLst>
              <a:ext uri="{FF2B5EF4-FFF2-40B4-BE49-F238E27FC236}">
                <a16:creationId xmlns:a16="http://schemas.microsoft.com/office/drawing/2014/main" id="{EFE7E9DE-9CA2-C87A-F4CF-CD62E6E244CE}"/>
              </a:ext>
            </a:extLst>
          </p:cNvPr>
          <p:cNvSpPr/>
          <p:nvPr/>
        </p:nvSpPr>
        <p:spPr>
          <a:xfrm>
            <a:off x="10191750" y="1188000"/>
            <a:ext cx="1433513" cy="465103"/>
          </a:xfrm>
          <a:prstGeom prst="round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Apply it -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12C44A3-5944-37E2-A50E-A042128B0380}"/>
              </a:ext>
            </a:extLst>
          </p:cNvPr>
          <p:cNvSpPr txBox="1"/>
          <p:nvPr/>
        </p:nvSpPr>
        <p:spPr>
          <a:xfrm>
            <a:off x="10292617" y="6005001"/>
            <a:ext cx="18886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latin typeface="Trebuchet MS" panose="020B0603020202020204" pitchFamily="34" charset="0"/>
              </a:rPr>
              <a:t>(Fileni et al., submitted)</a:t>
            </a:r>
          </a:p>
        </p:txBody>
      </p:sp>
      <p:sp>
        <p:nvSpPr>
          <p:cNvPr id="25" name="Footer Placeholder 53">
            <a:extLst>
              <a:ext uri="{FF2B5EF4-FFF2-40B4-BE49-F238E27FC236}">
                <a16:creationId xmlns:a16="http://schemas.microsoft.com/office/drawing/2014/main" id="{450310FC-EFFF-4B0D-4B75-3107BB4A6FB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26" name="Rectangle: Rounded Corners 25">
            <a:hlinkClick r:id="rId6" action="ppaction://hlinksldjump"/>
            <a:extLst>
              <a:ext uri="{FF2B5EF4-FFF2-40B4-BE49-F238E27FC236}">
                <a16:creationId xmlns:a16="http://schemas.microsoft.com/office/drawing/2014/main" id="{1310C401-6F1E-964C-1B88-1BFDCFE7765C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27" name="Rectangle: Rounded Corners 26">
            <a:hlinkClick r:id="rId7" action="ppaction://hlinksldjump"/>
            <a:extLst>
              <a:ext uri="{FF2B5EF4-FFF2-40B4-BE49-F238E27FC236}">
                <a16:creationId xmlns:a16="http://schemas.microsoft.com/office/drawing/2014/main" id="{6CA89309-F30F-B3D5-1FC8-661126BCD33F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4790283-DB89-508B-8D64-3229050F97FE}"/>
              </a:ext>
            </a:extLst>
          </p:cNvPr>
          <p:cNvSpPr txBox="1"/>
          <p:nvPr/>
        </p:nvSpPr>
        <p:spPr>
          <a:xfrm>
            <a:off x="221495" y="2214438"/>
            <a:ext cx="4005943" cy="38716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2200" kern="100" dirty="0">
                <a:effectLst/>
                <a:latin typeface="Trebuchet MS" panose="020B0603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15-min data: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200" kern="100" dirty="0">
                <a:effectLst/>
                <a:latin typeface="Trebuchet MS" panose="020B0603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aptures short-duration, high-intensity events driving summer extremes 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200" kern="100" dirty="0">
                <a:effectLst/>
                <a:latin typeface="Trebuchet MS" panose="020B0603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veals seasonal shifts in flood-generating processes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200" kern="100" dirty="0">
                <a:effectLst/>
                <a:latin typeface="Trebuchet MS" panose="020B0603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voids underestimation of extremes seen in daily datasets</a:t>
            </a:r>
          </a:p>
        </p:txBody>
      </p:sp>
      <p:pic>
        <p:nvPicPr>
          <p:cNvPr id="10" name="Picture 9" descr="A blue and white logo&#10;&#10;AI-generated content may be incorrect.">
            <a:extLst>
              <a:ext uri="{FF2B5EF4-FFF2-40B4-BE49-F238E27FC236}">
                <a16:creationId xmlns:a16="http://schemas.microsoft.com/office/drawing/2014/main" id="{D4820634-D214-E05C-B663-23C244F08C3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3223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3CE99D-4EA4-CE4C-901F-2FF7A2167E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3EBBCCC-989D-60EA-79D0-D3C4E6ECAE76}"/>
              </a:ext>
            </a:extLst>
          </p:cNvPr>
          <p:cNvSpPr/>
          <p:nvPr/>
        </p:nvSpPr>
        <p:spPr>
          <a:xfrm>
            <a:off x="6953808" y="1747855"/>
            <a:ext cx="5029595" cy="47764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2357A76-D588-2AA7-FF46-DEC99E874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7915072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Access to high-res data matters!</a:t>
            </a:r>
            <a:endParaRPr lang="en-US" dirty="0">
              <a:latin typeface="Trebuchet MS" panose="020B0603020202020204" pitchFamily="34" charset="0"/>
            </a:endParaRPr>
          </a:p>
        </p:txBody>
      </p:sp>
      <p:sp>
        <p:nvSpPr>
          <p:cNvPr id="21" name="Rectangle: Rounded Corners 20">
            <a:hlinkClick r:id="rId2" action="ppaction://hlinksldjump"/>
            <a:extLst>
              <a:ext uri="{FF2B5EF4-FFF2-40B4-BE49-F238E27FC236}">
                <a16:creationId xmlns:a16="http://schemas.microsoft.com/office/drawing/2014/main" id="{6A259BAA-A68A-37A0-01EC-0F5A91FBC67C}"/>
              </a:ext>
            </a:extLst>
          </p:cNvPr>
          <p:cNvSpPr/>
          <p:nvPr/>
        </p:nvSpPr>
        <p:spPr>
          <a:xfrm>
            <a:off x="10191750" y="625683"/>
            <a:ext cx="1433513" cy="465103"/>
          </a:xfrm>
          <a:prstGeom prst="round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Apply it -&gt;</a:t>
            </a:r>
          </a:p>
        </p:txBody>
      </p:sp>
      <p:sp>
        <p:nvSpPr>
          <p:cNvPr id="4" name="Rectangle: Rounded Corners 3">
            <a:hlinkClick r:id="rId3" action="ppaction://hlinksldjump"/>
            <a:extLst>
              <a:ext uri="{FF2B5EF4-FFF2-40B4-BE49-F238E27FC236}">
                <a16:creationId xmlns:a16="http://schemas.microsoft.com/office/drawing/2014/main" id="{13063468-6F16-6364-D91B-EC0EB5ECFE7F}"/>
              </a:ext>
            </a:extLst>
          </p:cNvPr>
          <p:cNvSpPr/>
          <p:nvPr/>
        </p:nvSpPr>
        <p:spPr>
          <a:xfrm>
            <a:off x="8653895" y="625683"/>
            <a:ext cx="1433513" cy="465103"/>
          </a:xfrm>
          <a:prstGeom prst="round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Apply it</a:t>
            </a:r>
          </a:p>
        </p:txBody>
      </p:sp>
      <p:sp>
        <p:nvSpPr>
          <p:cNvPr id="17" name="Footer Placeholder 53">
            <a:extLst>
              <a:ext uri="{FF2B5EF4-FFF2-40B4-BE49-F238E27FC236}">
                <a16:creationId xmlns:a16="http://schemas.microsoft.com/office/drawing/2014/main" id="{D86A8815-9FFA-C2B2-308C-BE20DC423FE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18" name="Rectangle: Rounded Corners 17">
            <a:hlinkClick r:id="rId4" action="ppaction://hlinksldjump"/>
            <a:extLst>
              <a:ext uri="{FF2B5EF4-FFF2-40B4-BE49-F238E27FC236}">
                <a16:creationId xmlns:a16="http://schemas.microsoft.com/office/drawing/2014/main" id="{63CC903B-C8C8-B6BA-BB83-ED4CFE1C8336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19" name="Rectangle: Rounded Corners 18">
            <a:hlinkClick r:id="rId5" action="ppaction://hlinksldjump"/>
            <a:extLst>
              <a:ext uri="{FF2B5EF4-FFF2-40B4-BE49-F238E27FC236}">
                <a16:creationId xmlns:a16="http://schemas.microsoft.com/office/drawing/2014/main" id="{16B8B48B-6A8E-9744-0FF1-33A1933A7465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31B7B12-D45D-4D7E-A13D-D4D7D6F6536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674" t="14173" r="56226" b="7349"/>
          <a:stretch/>
        </p:blipFill>
        <p:spPr>
          <a:xfrm>
            <a:off x="7132335" y="1723013"/>
            <a:ext cx="4804004" cy="482609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61D0DA6-D281-6182-424F-71C04BE08F8C}"/>
              </a:ext>
            </a:extLst>
          </p:cNvPr>
          <p:cNvSpPr txBox="1"/>
          <p:nvPr/>
        </p:nvSpPr>
        <p:spPr>
          <a:xfrm>
            <a:off x="442759" y="1819553"/>
            <a:ext cx="62192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Trebuchet MS" panose="020B0603020202020204" pitchFamily="34" charset="0"/>
              </a:rPr>
              <a:t>Unlocks the representation of real flood dynamic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51D8A0-10CA-B370-E2D0-9822425C6447}"/>
              </a:ext>
            </a:extLst>
          </p:cNvPr>
          <p:cNvSpPr txBox="1"/>
          <p:nvPr/>
        </p:nvSpPr>
        <p:spPr>
          <a:xfrm>
            <a:off x="442759" y="3429000"/>
            <a:ext cx="6427546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2200" b="1" dirty="0">
                <a:latin typeface="Trebuchet MS" panose="020B0603020202020204" pitchFamily="34" charset="0"/>
              </a:rPr>
              <a:t>Peak Datasets: </a:t>
            </a:r>
            <a:r>
              <a:rPr lang="en-GB" sz="2200" dirty="0">
                <a:latin typeface="Trebuchet MS" panose="020B0603020202020204" pitchFamily="34" charset="0"/>
              </a:rPr>
              <a:t>Capture only the peak events without representation physical processes within the catchment</a:t>
            </a:r>
          </a:p>
          <a:p>
            <a:pPr algn="just"/>
            <a:endParaRPr lang="en-GB" sz="2200" dirty="0">
              <a:latin typeface="Trebuchet MS" panose="020B0603020202020204" pitchFamily="34" charset="0"/>
            </a:endParaRPr>
          </a:p>
          <a:p>
            <a:pPr algn="just"/>
            <a:r>
              <a:rPr lang="en-GB" sz="2200" b="1" dirty="0">
                <a:latin typeface="Trebuchet MS" panose="020B0603020202020204" pitchFamily="34" charset="0"/>
              </a:rPr>
              <a:t>Daily datasets: </a:t>
            </a:r>
            <a:r>
              <a:rPr lang="en-GB" sz="2200" dirty="0">
                <a:latin typeface="Trebuchet MS" panose="020B0603020202020204" pitchFamily="34" charset="0"/>
              </a:rPr>
              <a:t>Underestimation of events on mesoscale catchments  which need higher resolution data for flood wave representation</a:t>
            </a:r>
          </a:p>
        </p:txBody>
      </p:sp>
      <p:pic>
        <p:nvPicPr>
          <p:cNvPr id="10" name="Picture 9" descr="A blue and white logo&#10;&#10;AI-generated content may be incorrect.">
            <a:extLst>
              <a:ext uri="{FF2B5EF4-FFF2-40B4-BE49-F238E27FC236}">
                <a16:creationId xmlns:a16="http://schemas.microsoft.com/office/drawing/2014/main" id="{86E00E57-4F0D-6A55-7F16-4DCA437A3ED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554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5932D8-32C1-9B2E-E6BA-038F43F8C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BD5CFFA5-AF9D-A00A-8F7F-A7525134725F}"/>
              </a:ext>
            </a:extLst>
          </p:cNvPr>
          <p:cNvSpPr/>
          <p:nvPr/>
        </p:nvSpPr>
        <p:spPr>
          <a:xfrm>
            <a:off x="442759" y="3170707"/>
            <a:ext cx="11540644" cy="36720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89B175D-366B-4870-7105-E4F818DE1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7915072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Real-world impact of the data</a:t>
            </a:r>
            <a:endParaRPr lang="en-US" dirty="0">
              <a:latin typeface="Trebuchet MS" panose="020B0603020202020204" pitchFamily="34" charset="0"/>
            </a:endParaRPr>
          </a:p>
        </p:txBody>
      </p:sp>
      <p:sp>
        <p:nvSpPr>
          <p:cNvPr id="5" name="Rectangle: Rounded Corners 4">
            <a:hlinkClick r:id="rId2" action="ppaction://hlinksldjump"/>
            <a:extLst>
              <a:ext uri="{FF2B5EF4-FFF2-40B4-BE49-F238E27FC236}">
                <a16:creationId xmlns:a16="http://schemas.microsoft.com/office/drawing/2014/main" id="{0495E004-5ECB-ABB3-9135-9A3D71636770}"/>
              </a:ext>
            </a:extLst>
          </p:cNvPr>
          <p:cNvSpPr/>
          <p:nvPr/>
        </p:nvSpPr>
        <p:spPr>
          <a:xfrm>
            <a:off x="10191750" y="625683"/>
            <a:ext cx="1433513" cy="465103"/>
          </a:xfrm>
          <a:prstGeom prst="round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Apply it -&gt;</a:t>
            </a:r>
          </a:p>
        </p:txBody>
      </p:sp>
      <p:sp>
        <p:nvSpPr>
          <p:cNvPr id="10" name="Rectangle: Rounded Corners 9">
            <a:hlinkClick r:id="rId3" action="ppaction://hlinksldjump"/>
            <a:extLst>
              <a:ext uri="{FF2B5EF4-FFF2-40B4-BE49-F238E27FC236}">
                <a16:creationId xmlns:a16="http://schemas.microsoft.com/office/drawing/2014/main" id="{AEBE9D18-225C-9B27-1230-C2DC348082DA}"/>
              </a:ext>
            </a:extLst>
          </p:cNvPr>
          <p:cNvSpPr/>
          <p:nvPr/>
        </p:nvSpPr>
        <p:spPr>
          <a:xfrm>
            <a:off x="8653895" y="625683"/>
            <a:ext cx="1433513" cy="465103"/>
          </a:xfrm>
          <a:prstGeom prst="round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Apply it</a:t>
            </a:r>
          </a:p>
        </p:txBody>
      </p:sp>
      <p:sp>
        <p:nvSpPr>
          <p:cNvPr id="18" name="Footer Placeholder 53">
            <a:extLst>
              <a:ext uri="{FF2B5EF4-FFF2-40B4-BE49-F238E27FC236}">
                <a16:creationId xmlns:a16="http://schemas.microsoft.com/office/drawing/2014/main" id="{5F497DD9-58EE-72D8-6DBF-690FE9E2786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19" name="Rectangle: Rounded Corners 18">
            <a:hlinkClick r:id="rId4" action="ppaction://hlinksldjump"/>
            <a:extLst>
              <a:ext uri="{FF2B5EF4-FFF2-40B4-BE49-F238E27FC236}">
                <a16:creationId xmlns:a16="http://schemas.microsoft.com/office/drawing/2014/main" id="{DF1D669B-EF24-9EF8-81D7-449EB07A9957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20" name="Rectangle: Rounded Corners 19">
            <a:hlinkClick r:id="rId5" action="ppaction://hlinksldjump"/>
            <a:extLst>
              <a:ext uri="{FF2B5EF4-FFF2-40B4-BE49-F238E27FC236}">
                <a16:creationId xmlns:a16="http://schemas.microsoft.com/office/drawing/2014/main" id="{3E51FF1A-65CD-FD73-29E0-94807A5202AF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FB431C-AAF1-E059-232B-9EB8736035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8873" y="3263041"/>
            <a:ext cx="9824822" cy="349877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D571A26-A593-AEBA-3E73-ABC5B51F011B}"/>
              </a:ext>
            </a:extLst>
          </p:cNvPr>
          <p:cNvSpPr txBox="1"/>
          <p:nvPr/>
        </p:nvSpPr>
        <p:spPr>
          <a:xfrm>
            <a:off x="10383695" y="6232317"/>
            <a:ext cx="1599708" cy="465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Trebuchet MS" panose="020B0603020202020204" pitchFamily="34" charset="0"/>
              </a:rPr>
              <a:t>adapted from </a:t>
            </a:r>
            <a:r>
              <a:rPr lang="en-GB" sz="1200" dirty="0">
                <a:latin typeface="Trebuchet MS" panose="020B0603020202020204" pitchFamily="34" charset="0"/>
                <a:hlinkClick r:id="rId7"/>
              </a:rPr>
              <a:t>(Fileni et al, 2025b)</a:t>
            </a:r>
            <a:endParaRPr lang="en-GB" sz="1200" dirty="0">
              <a:latin typeface="Trebuchet MS" panose="020B0603020202020204" pitchFamily="34" charset="0"/>
            </a:endParaRPr>
          </a:p>
        </p:txBody>
      </p:sp>
      <p:pic>
        <p:nvPicPr>
          <p:cNvPr id="11" name="Picture 10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9D539884-51A4-5B2A-694D-874CC13FA9A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549" y="5152317"/>
            <a:ext cx="1080000" cy="10800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70A416E-7E47-F068-8896-BE6EA4752A9A}"/>
              </a:ext>
            </a:extLst>
          </p:cNvPr>
          <p:cNvSpPr txBox="1"/>
          <p:nvPr/>
        </p:nvSpPr>
        <p:spPr>
          <a:xfrm>
            <a:off x="558873" y="1786065"/>
            <a:ext cx="112847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>
                <a:latin typeface="Trebuchet MS" panose="020B0603020202020204" pitchFamily="34" charset="0"/>
              </a:rPr>
              <a:t>Sub-daily flows were one of the missing pieces for updating the guidelines for flood risk assessments under climate change in the UK.</a:t>
            </a:r>
          </a:p>
        </p:txBody>
      </p:sp>
      <p:pic>
        <p:nvPicPr>
          <p:cNvPr id="22" name="Picture 21" descr="A blue and white logo&#10;&#10;AI-generated content may be incorrect.">
            <a:extLst>
              <a:ext uri="{FF2B5EF4-FFF2-40B4-BE49-F238E27FC236}">
                <a16:creationId xmlns:a16="http://schemas.microsoft.com/office/drawing/2014/main" id="{96336D92-C8D6-DA6F-2B91-A93720705FB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9403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F16A7B-7F8E-8D78-4D56-F2C6A9445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7789CB3-23DA-B1A6-2369-5373DD3F22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7915072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Summary on how we built the dataset</a:t>
            </a:r>
            <a:endParaRPr lang="en-US" dirty="0">
              <a:latin typeface="Trebuchet MS" panose="020B0603020202020204" pitchFamily="34" charset="0"/>
            </a:endParaRPr>
          </a:p>
        </p:txBody>
      </p:sp>
      <p:sp>
        <p:nvSpPr>
          <p:cNvPr id="11" name="Rectangle: Rounded Corners 10">
            <a:hlinkClick r:id="rId2" action="ppaction://hlinksldjump"/>
            <a:extLst>
              <a:ext uri="{FF2B5EF4-FFF2-40B4-BE49-F238E27FC236}">
                <a16:creationId xmlns:a16="http://schemas.microsoft.com/office/drawing/2014/main" id="{EF0534AF-B960-AD24-66AB-903DB60F873F}"/>
              </a:ext>
            </a:extLst>
          </p:cNvPr>
          <p:cNvSpPr/>
          <p:nvPr/>
        </p:nvSpPr>
        <p:spPr>
          <a:xfrm>
            <a:off x="8653895" y="625683"/>
            <a:ext cx="1433513" cy="46510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Build it</a:t>
            </a:r>
          </a:p>
        </p:txBody>
      </p:sp>
      <p:sp>
        <p:nvSpPr>
          <p:cNvPr id="21" name="Footer Placeholder 53">
            <a:extLst>
              <a:ext uri="{FF2B5EF4-FFF2-40B4-BE49-F238E27FC236}">
                <a16:creationId xmlns:a16="http://schemas.microsoft.com/office/drawing/2014/main" id="{87A85C62-FCB2-CB92-464D-23418D80005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22" name="Rectangle: Rounded Corners 21">
            <a:hlinkClick r:id="rId3" action="ppaction://hlinksldjump"/>
            <a:extLst>
              <a:ext uri="{FF2B5EF4-FFF2-40B4-BE49-F238E27FC236}">
                <a16:creationId xmlns:a16="http://schemas.microsoft.com/office/drawing/2014/main" id="{868C19BC-6B22-EEBB-BAE4-87529B2AD6DD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23" name="Rectangle: Rounded Corners 22">
            <a:hlinkClick r:id="rId4" action="ppaction://hlinksldjump"/>
            <a:extLst>
              <a:ext uri="{FF2B5EF4-FFF2-40B4-BE49-F238E27FC236}">
                <a16:creationId xmlns:a16="http://schemas.microsoft.com/office/drawing/2014/main" id="{FE43D5EE-FE79-8034-8C91-9CBCF71D1134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BDAE815-923E-AD19-6858-5FCE108CDA7E}"/>
              </a:ext>
            </a:extLst>
          </p:cNvPr>
          <p:cNvSpPr txBox="1"/>
          <p:nvPr/>
        </p:nvSpPr>
        <p:spPr>
          <a:xfrm>
            <a:off x="442759" y="2029544"/>
            <a:ext cx="3292889" cy="1107996"/>
          </a:xfrm>
          <a:custGeom>
            <a:avLst/>
            <a:gdLst>
              <a:gd name="connsiteX0" fmla="*/ 0 w 3292889"/>
              <a:gd name="connsiteY0" fmla="*/ 0 h 1107996"/>
              <a:gd name="connsiteX1" fmla="*/ 450028 w 3292889"/>
              <a:gd name="connsiteY1" fmla="*/ 0 h 1107996"/>
              <a:gd name="connsiteX2" fmla="*/ 1064701 w 3292889"/>
              <a:gd name="connsiteY2" fmla="*/ 0 h 1107996"/>
              <a:gd name="connsiteX3" fmla="*/ 1679373 w 3292889"/>
              <a:gd name="connsiteY3" fmla="*/ 0 h 1107996"/>
              <a:gd name="connsiteX4" fmla="*/ 2294046 w 3292889"/>
              <a:gd name="connsiteY4" fmla="*/ 0 h 1107996"/>
              <a:gd name="connsiteX5" fmla="*/ 3292889 w 3292889"/>
              <a:gd name="connsiteY5" fmla="*/ 0 h 1107996"/>
              <a:gd name="connsiteX6" fmla="*/ 3292889 w 3292889"/>
              <a:gd name="connsiteY6" fmla="*/ 576158 h 1107996"/>
              <a:gd name="connsiteX7" fmla="*/ 3292889 w 3292889"/>
              <a:gd name="connsiteY7" fmla="*/ 1107996 h 1107996"/>
              <a:gd name="connsiteX8" fmla="*/ 2777003 w 3292889"/>
              <a:gd name="connsiteY8" fmla="*/ 1107996 h 1107996"/>
              <a:gd name="connsiteX9" fmla="*/ 2261117 w 3292889"/>
              <a:gd name="connsiteY9" fmla="*/ 1107996 h 1107996"/>
              <a:gd name="connsiteX10" fmla="*/ 1646445 w 3292889"/>
              <a:gd name="connsiteY10" fmla="*/ 1107996 h 1107996"/>
              <a:gd name="connsiteX11" fmla="*/ 1097630 w 3292889"/>
              <a:gd name="connsiteY11" fmla="*/ 1107996 h 1107996"/>
              <a:gd name="connsiteX12" fmla="*/ 647602 w 3292889"/>
              <a:gd name="connsiteY12" fmla="*/ 1107996 h 1107996"/>
              <a:gd name="connsiteX13" fmla="*/ 0 w 3292889"/>
              <a:gd name="connsiteY13" fmla="*/ 1107996 h 1107996"/>
              <a:gd name="connsiteX14" fmla="*/ 0 w 3292889"/>
              <a:gd name="connsiteY14" fmla="*/ 531838 h 1107996"/>
              <a:gd name="connsiteX15" fmla="*/ 0 w 3292889"/>
              <a:gd name="connsiteY15" fmla="*/ 0 h 110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292889" h="1107996" extrusionOk="0">
                <a:moveTo>
                  <a:pt x="0" y="0"/>
                </a:moveTo>
                <a:cubicBezTo>
                  <a:pt x="108745" y="-31804"/>
                  <a:pt x="271340" y="27003"/>
                  <a:pt x="450028" y="0"/>
                </a:cubicBezTo>
                <a:cubicBezTo>
                  <a:pt x="628716" y="-27003"/>
                  <a:pt x="823662" y="39748"/>
                  <a:pt x="1064701" y="0"/>
                </a:cubicBezTo>
                <a:cubicBezTo>
                  <a:pt x="1305740" y="-39748"/>
                  <a:pt x="1489498" y="54788"/>
                  <a:pt x="1679373" y="0"/>
                </a:cubicBezTo>
                <a:cubicBezTo>
                  <a:pt x="1869248" y="-54788"/>
                  <a:pt x="2149603" y="43738"/>
                  <a:pt x="2294046" y="0"/>
                </a:cubicBezTo>
                <a:cubicBezTo>
                  <a:pt x="2438489" y="-43738"/>
                  <a:pt x="2864748" y="35351"/>
                  <a:pt x="3292889" y="0"/>
                </a:cubicBezTo>
                <a:cubicBezTo>
                  <a:pt x="3335701" y="271964"/>
                  <a:pt x="3271643" y="446700"/>
                  <a:pt x="3292889" y="576158"/>
                </a:cubicBezTo>
                <a:cubicBezTo>
                  <a:pt x="3314135" y="705616"/>
                  <a:pt x="3277964" y="915112"/>
                  <a:pt x="3292889" y="1107996"/>
                </a:cubicBezTo>
                <a:cubicBezTo>
                  <a:pt x="3106774" y="1117306"/>
                  <a:pt x="2918426" y="1087122"/>
                  <a:pt x="2777003" y="1107996"/>
                </a:cubicBezTo>
                <a:cubicBezTo>
                  <a:pt x="2635580" y="1128870"/>
                  <a:pt x="2378870" y="1048845"/>
                  <a:pt x="2261117" y="1107996"/>
                </a:cubicBezTo>
                <a:cubicBezTo>
                  <a:pt x="2143364" y="1167147"/>
                  <a:pt x="1796544" y="1077960"/>
                  <a:pt x="1646445" y="1107996"/>
                </a:cubicBezTo>
                <a:cubicBezTo>
                  <a:pt x="1496346" y="1138032"/>
                  <a:pt x="1293171" y="1094355"/>
                  <a:pt x="1097630" y="1107996"/>
                </a:cubicBezTo>
                <a:cubicBezTo>
                  <a:pt x="902089" y="1121637"/>
                  <a:pt x="781367" y="1056765"/>
                  <a:pt x="647602" y="1107996"/>
                </a:cubicBezTo>
                <a:cubicBezTo>
                  <a:pt x="513837" y="1159227"/>
                  <a:pt x="237962" y="1062682"/>
                  <a:pt x="0" y="1107996"/>
                </a:cubicBezTo>
                <a:cubicBezTo>
                  <a:pt x="-46420" y="820821"/>
                  <a:pt x="17987" y="759621"/>
                  <a:pt x="0" y="531838"/>
                </a:cubicBezTo>
                <a:cubicBezTo>
                  <a:pt x="-17987" y="304055"/>
                  <a:pt x="61416" y="242084"/>
                  <a:pt x="0" y="0"/>
                </a:cubicBezTo>
                <a:close/>
              </a:path>
            </a:pathLst>
          </a:custGeom>
          <a:noFill/>
          <a:ln w="28575">
            <a:solidFill>
              <a:schemeClr val="bg2">
                <a:lumMod val="90000"/>
              </a:schemeClr>
            </a:solidFill>
            <a:extLst>
              <a:ext uri="{C807C97D-BFC1-408E-A445-0C87EB9F89A2}">
                <ask:lineSketchStyleProps xmlns:ask="http://schemas.microsoft.com/office/drawing/2018/sketchyshapes" sd="1473966035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GB" sz="2200" b="1" dirty="0">
                <a:latin typeface="Trebuchet MS" panose="020B0603020202020204" pitchFamily="34" charset="0"/>
              </a:rPr>
              <a:t>Scope &amp; data coll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Identify user nee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Gather available dat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18CF35-89ED-2BFD-FFD4-CB9419ECE1E6}"/>
              </a:ext>
            </a:extLst>
          </p:cNvPr>
          <p:cNvSpPr txBox="1"/>
          <p:nvPr/>
        </p:nvSpPr>
        <p:spPr>
          <a:xfrm>
            <a:off x="5981315" y="1982450"/>
            <a:ext cx="5767926" cy="1446550"/>
          </a:xfrm>
          <a:custGeom>
            <a:avLst/>
            <a:gdLst>
              <a:gd name="connsiteX0" fmla="*/ 0 w 5767926"/>
              <a:gd name="connsiteY0" fmla="*/ 0 h 1446550"/>
              <a:gd name="connsiteX1" fmla="*/ 692151 w 5767926"/>
              <a:gd name="connsiteY1" fmla="*/ 0 h 1446550"/>
              <a:gd name="connsiteX2" fmla="*/ 1153585 w 5767926"/>
              <a:gd name="connsiteY2" fmla="*/ 0 h 1446550"/>
              <a:gd name="connsiteX3" fmla="*/ 1557340 w 5767926"/>
              <a:gd name="connsiteY3" fmla="*/ 0 h 1446550"/>
              <a:gd name="connsiteX4" fmla="*/ 2018774 w 5767926"/>
              <a:gd name="connsiteY4" fmla="*/ 0 h 1446550"/>
              <a:gd name="connsiteX5" fmla="*/ 2480208 w 5767926"/>
              <a:gd name="connsiteY5" fmla="*/ 0 h 1446550"/>
              <a:gd name="connsiteX6" fmla="*/ 3172359 w 5767926"/>
              <a:gd name="connsiteY6" fmla="*/ 0 h 1446550"/>
              <a:gd name="connsiteX7" fmla="*/ 3806831 w 5767926"/>
              <a:gd name="connsiteY7" fmla="*/ 0 h 1446550"/>
              <a:gd name="connsiteX8" fmla="*/ 4383624 w 5767926"/>
              <a:gd name="connsiteY8" fmla="*/ 0 h 1446550"/>
              <a:gd name="connsiteX9" fmla="*/ 4902737 w 5767926"/>
              <a:gd name="connsiteY9" fmla="*/ 0 h 1446550"/>
              <a:gd name="connsiteX10" fmla="*/ 5767926 w 5767926"/>
              <a:gd name="connsiteY10" fmla="*/ 0 h 1446550"/>
              <a:gd name="connsiteX11" fmla="*/ 5767926 w 5767926"/>
              <a:gd name="connsiteY11" fmla="*/ 511114 h 1446550"/>
              <a:gd name="connsiteX12" fmla="*/ 5767926 w 5767926"/>
              <a:gd name="connsiteY12" fmla="*/ 964367 h 1446550"/>
              <a:gd name="connsiteX13" fmla="*/ 5767926 w 5767926"/>
              <a:gd name="connsiteY13" fmla="*/ 1446550 h 1446550"/>
              <a:gd name="connsiteX14" fmla="*/ 5133454 w 5767926"/>
              <a:gd name="connsiteY14" fmla="*/ 1446550 h 1446550"/>
              <a:gd name="connsiteX15" fmla="*/ 4672020 w 5767926"/>
              <a:gd name="connsiteY15" fmla="*/ 1446550 h 1446550"/>
              <a:gd name="connsiteX16" fmla="*/ 4095227 w 5767926"/>
              <a:gd name="connsiteY16" fmla="*/ 1446550 h 1446550"/>
              <a:gd name="connsiteX17" fmla="*/ 3633793 w 5767926"/>
              <a:gd name="connsiteY17" fmla="*/ 1446550 h 1446550"/>
              <a:gd name="connsiteX18" fmla="*/ 3172359 w 5767926"/>
              <a:gd name="connsiteY18" fmla="*/ 1446550 h 1446550"/>
              <a:gd name="connsiteX19" fmla="*/ 2480208 w 5767926"/>
              <a:gd name="connsiteY19" fmla="*/ 1446550 h 1446550"/>
              <a:gd name="connsiteX20" fmla="*/ 1903416 w 5767926"/>
              <a:gd name="connsiteY20" fmla="*/ 1446550 h 1446550"/>
              <a:gd name="connsiteX21" fmla="*/ 1441982 w 5767926"/>
              <a:gd name="connsiteY21" fmla="*/ 1446550 h 1446550"/>
              <a:gd name="connsiteX22" fmla="*/ 1038227 w 5767926"/>
              <a:gd name="connsiteY22" fmla="*/ 1446550 h 1446550"/>
              <a:gd name="connsiteX23" fmla="*/ 634472 w 5767926"/>
              <a:gd name="connsiteY23" fmla="*/ 1446550 h 1446550"/>
              <a:gd name="connsiteX24" fmla="*/ 0 w 5767926"/>
              <a:gd name="connsiteY24" fmla="*/ 1446550 h 1446550"/>
              <a:gd name="connsiteX25" fmla="*/ 0 w 5767926"/>
              <a:gd name="connsiteY25" fmla="*/ 964367 h 1446550"/>
              <a:gd name="connsiteX26" fmla="*/ 0 w 5767926"/>
              <a:gd name="connsiteY26" fmla="*/ 525580 h 1446550"/>
              <a:gd name="connsiteX27" fmla="*/ 0 w 5767926"/>
              <a:gd name="connsiteY27" fmla="*/ 0 h 14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5767926" h="1446550" extrusionOk="0">
                <a:moveTo>
                  <a:pt x="0" y="0"/>
                </a:moveTo>
                <a:cubicBezTo>
                  <a:pt x="313362" y="-50160"/>
                  <a:pt x="352260" y="70448"/>
                  <a:pt x="692151" y="0"/>
                </a:cubicBezTo>
                <a:cubicBezTo>
                  <a:pt x="1032042" y="-70448"/>
                  <a:pt x="1002773" y="42189"/>
                  <a:pt x="1153585" y="0"/>
                </a:cubicBezTo>
                <a:cubicBezTo>
                  <a:pt x="1304397" y="-42189"/>
                  <a:pt x="1381938" y="28352"/>
                  <a:pt x="1557340" y="0"/>
                </a:cubicBezTo>
                <a:cubicBezTo>
                  <a:pt x="1732743" y="-28352"/>
                  <a:pt x="1846889" y="22480"/>
                  <a:pt x="2018774" y="0"/>
                </a:cubicBezTo>
                <a:cubicBezTo>
                  <a:pt x="2190659" y="-22480"/>
                  <a:pt x="2291151" y="24019"/>
                  <a:pt x="2480208" y="0"/>
                </a:cubicBezTo>
                <a:cubicBezTo>
                  <a:pt x="2669265" y="-24019"/>
                  <a:pt x="3022830" y="27444"/>
                  <a:pt x="3172359" y="0"/>
                </a:cubicBezTo>
                <a:cubicBezTo>
                  <a:pt x="3321888" y="-27444"/>
                  <a:pt x="3618089" y="21831"/>
                  <a:pt x="3806831" y="0"/>
                </a:cubicBezTo>
                <a:cubicBezTo>
                  <a:pt x="3995573" y="-21831"/>
                  <a:pt x="4174401" y="8800"/>
                  <a:pt x="4383624" y="0"/>
                </a:cubicBezTo>
                <a:cubicBezTo>
                  <a:pt x="4592847" y="-8800"/>
                  <a:pt x="4708191" y="11627"/>
                  <a:pt x="4902737" y="0"/>
                </a:cubicBezTo>
                <a:cubicBezTo>
                  <a:pt x="5097283" y="-11627"/>
                  <a:pt x="5377505" y="15887"/>
                  <a:pt x="5767926" y="0"/>
                </a:cubicBezTo>
                <a:cubicBezTo>
                  <a:pt x="5792194" y="109397"/>
                  <a:pt x="5766501" y="299454"/>
                  <a:pt x="5767926" y="511114"/>
                </a:cubicBezTo>
                <a:cubicBezTo>
                  <a:pt x="5769351" y="722774"/>
                  <a:pt x="5727231" y="765272"/>
                  <a:pt x="5767926" y="964367"/>
                </a:cubicBezTo>
                <a:cubicBezTo>
                  <a:pt x="5808621" y="1163462"/>
                  <a:pt x="5735625" y="1252684"/>
                  <a:pt x="5767926" y="1446550"/>
                </a:cubicBezTo>
                <a:cubicBezTo>
                  <a:pt x="5633076" y="1497586"/>
                  <a:pt x="5306487" y="1426754"/>
                  <a:pt x="5133454" y="1446550"/>
                </a:cubicBezTo>
                <a:cubicBezTo>
                  <a:pt x="4960421" y="1466346"/>
                  <a:pt x="4795329" y="1417538"/>
                  <a:pt x="4672020" y="1446550"/>
                </a:cubicBezTo>
                <a:cubicBezTo>
                  <a:pt x="4548711" y="1475562"/>
                  <a:pt x="4319036" y="1422794"/>
                  <a:pt x="4095227" y="1446550"/>
                </a:cubicBezTo>
                <a:cubicBezTo>
                  <a:pt x="3871418" y="1470306"/>
                  <a:pt x="3749748" y="1403105"/>
                  <a:pt x="3633793" y="1446550"/>
                </a:cubicBezTo>
                <a:cubicBezTo>
                  <a:pt x="3517838" y="1489995"/>
                  <a:pt x="3345477" y="1424306"/>
                  <a:pt x="3172359" y="1446550"/>
                </a:cubicBezTo>
                <a:cubicBezTo>
                  <a:pt x="2999241" y="1468794"/>
                  <a:pt x="2722833" y="1444891"/>
                  <a:pt x="2480208" y="1446550"/>
                </a:cubicBezTo>
                <a:cubicBezTo>
                  <a:pt x="2237583" y="1448209"/>
                  <a:pt x="2129950" y="1418609"/>
                  <a:pt x="1903416" y="1446550"/>
                </a:cubicBezTo>
                <a:cubicBezTo>
                  <a:pt x="1676882" y="1474491"/>
                  <a:pt x="1548013" y="1443029"/>
                  <a:pt x="1441982" y="1446550"/>
                </a:cubicBezTo>
                <a:cubicBezTo>
                  <a:pt x="1335951" y="1450071"/>
                  <a:pt x="1143086" y="1402583"/>
                  <a:pt x="1038227" y="1446550"/>
                </a:cubicBezTo>
                <a:cubicBezTo>
                  <a:pt x="933369" y="1490517"/>
                  <a:pt x="792992" y="1404409"/>
                  <a:pt x="634472" y="1446550"/>
                </a:cubicBezTo>
                <a:cubicBezTo>
                  <a:pt x="475952" y="1488691"/>
                  <a:pt x="160352" y="1386899"/>
                  <a:pt x="0" y="1446550"/>
                </a:cubicBezTo>
                <a:cubicBezTo>
                  <a:pt x="-31700" y="1321694"/>
                  <a:pt x="14725" y="1074293"/>
                  <a:pt x="0" y="964367"/>
                </a:cubicBezTo>
                <a:cubicBezTo>
                  <a:pt x="-14725" y="854441"/>
                  <a:pt x="4336" y="708111"/>
                  <a:pt x="0" y="525580"/>
                </a:cubicBezTo>
                <a:cubicBezTo>
                  <a:pt x="-4336" y="343049"/>
                  <a:pt x="38827" y="139749"/>
                  <a:pt x="0" y="0"/>
                </a:cubicBezTo>
                <a:close/>
              </a:path>
            </a:pathLst>
          </a:custGeom>
          <a:noFill/>
          <a:ln w="28575">
            <a:solidFill>
              <a:schemeClr val="bg2">
                <a:lumMod val="50000"/>
              </a:schemeClr>
            </a:solidFill>
            <a:extLst>
              <a:ext uri="{C807C97D-BFC1-408E-A445-0C87EB9F89A2}">
                <ask:lineSketchStyleProps xmlns:ask="http://schemas.microsoft.com/office/drawing/2018/sketchyshapes" sd="59458121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GB" sz="2200" b="1" dirty="0">
                <a:latin typeface="Trebuchet MS" panose="020B0603020202020204" pitchFamily="34" charset="0"/>
              </a:rPr>
              <a:t>Building a consistent data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Checking the structure of collected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Harmonisation and standardis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Identifying shortcomings of the dat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ADA087-6B7E-B9DD-8F58-9EBA5AA8AE72}"/>
              </a:ext>
            </a:extLst>
          </p:cNvPr>
          <p:cNvSpPr txBox="1"/>
          <p:nvPr/>
        </p:nvSpPr>
        <p:spPr>
          <a:xfrm>
            <a:off x="573388" y="3961618"/>
            <a:ext cx="4282811" cy="2123658"/>
          </a:xfrm>
          <a:custGeom>
            <a:avLst/>
            <a:gdLst>
              <a:gd name="connsiteX0" fmla="*/ 0 w 4282811"/>
              <a:gd name="connsiteY0" fmla="*/ 0 h 2123658"/>
              <a:gd name="connsiteX1" fmla="*/ 492523 w 4282811"/>
              <a:gd name="connsiteY1" fmla="*/ 0 h 2123658"/>
              <a:gd name="connsiteX2" fmla="*/ 1027875 w 4282811"/>
              <a:gd name="connsiteY2" fmla="*/ 0 h 2123658"/>
              <a:gd name="connsiteX3" fmla="*/ 1648882 w 4282811"/>
              <a:gd name="connsiteY3" fmla="*/ 0 h 2123658"/>
              <a:gd name="connsiteX4" fmla="*/ 2227062 w 4282811"/>
              <a:gd name="connsiteY4" fmla="*/ 0 h 2123658"/>
              <a:gd name="connsiteX5" fmla="*/ 2848069 w 4282811"/>
              <a:gd name="connsiteY5" fmla="*/ 0 h 2123658"/>
              <a:gd name="connsiteX6" fmla="*/ 3469077 w 4282811"/>
              <a:gd name="connsiteY6" fmla="*/ 0 h 2123658"/>
              <a:gd name="connsiteX7" fmla="*/ 4282811 w 4282811"/>
              <a:gd name="connsiteY7" fmla="*/ 0 h 2123658"/>
              <a:gd name="connsiteX8" fmla="*/ 4282811 w 4282811"/>
              <a:gd name="connsiteY8" fmla="*/ 467205 h 2123658"/>
              <a:gd name="connsiteX9" fmla="*/ 4282811 w 4282811"/>
              <a:gd name="connsiteY9" fmla="*/ 955646 h 2123658"/>
              <a:gd name="connsiteX10" fmla="*/ 4282811 w 4282811"/>
              <a:gd name="connsiteY10" fmla="*/ 1529034 h 2123658"/>
              <a:gd name="connsiteX11" fmla="*/ 4282811 w 4282811"/>
              <a:gd name="connsiteY11" fmla="*/ 2123658 h 2123658"/>
              <a:gd name="connsiteX12" fmla="*/ 3747460 w 4282811"/>
              <a:gd name="connsiteY12" fmla="*/ 2123658 h 2123658"/>
              <a:gd name="connsiteX13" fmla="*/ 3126452 w 4282811"/>
              <a:gd name="connsiteY13" fmla="*/ 2123658 h 2123658"/>
              <a:gd name="connsiteX14" fmla="*/ 2633929 w 4282811"/>
              <a:gd name="connsiteY14" fmla="*/ 2123658 h 2123658"/>
              <a:gd name="connsiteX15" fmla="*/ 2184234 w 4282811"/>
              <a:gd name="connsiteY15" fmla="*/ 2123658 h 2123658"/>
              <a:gd name="connsiteX16" fmla="*/ 1648882 w 4282811"/>
              <a:gd name="connsiteY16" fmla="*/ 2123658 h 2123658"/>
              <a:gd name="connsiteX17" fmla="*/ 1242015 w 4282811"/>
              <a:gd name="connsiteY17" fmla="*/ 2123658 h 2123658"/>
              <a:gd name="connsiteX18" fmla="*/ 663836 w 4282811"/>
              <a:gd name="connsiteY18" fmla="*/ 2123658 h 2123658"/>
              <a:gd name="connsiteX19" fmla="*/ 0 w 4282811"/>
              <a:gd name="connsiteY19" fmla="*/ 2123658 h 2123658"/>
              <a:gd name="connsiteX20" fmla="*/ 0 w 4282811"/>
              <a:gd name="connsiteY20" fmla="*/ 1635217 h 2123658"/>
              <a:gd name="connsiteX21" fmla="*/ 0 w 4282811"/>
              <a:gd name="connsiteY21" fmla="*/ 1104302 h 2123658"/>
              <a:gd name="connsiteX22" fmla="*/ 0 w 4282811"/>
              <a:gd name="connsiteY22" fmla="*/ 637097 h 2123658"/>
              <a:gd name="connsiteX23" fmla="*/ 0 w 4282811"/>
              <a:gd name="connsiteY23" fmla="*/ 0 h 2123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82811" h="2123658" extrusionOk="0">
                <a:moveTo>
                  <a:pt x="0" y="0"/>
                </a:moveTo>
                <a:cubicBezTo>
                  <a:pt x="197894" y="-11865"/>
                  <a:pt x="337254" y="42260"/>
                  <a:pt x="492523" y="0"/>
                </a:cubicBezTo>
                <a:cubicBezTo>
                  <a:pt x="647792" y="-42260"/>
                  <a:pt x="895736" y="52659"/>
                  <a:pt x="1027875" y="0"/>
                </a:cubicBezTo>
                <a:cubicBezTo>
                  <a:pt x="1160014" y="-52659"/>
                  <a:pt x="1503447" y="50482"/>
                  <a:pt x="1648882" y="0"/>
                </a:cubicBezTo>
                <a:cubicBezTo>
                  <a:pt x="1794317" y="-50482"/>
                  <a:pt x="2019873" y="15523"/>
                  <a:pt x="2227062" y="0"/>
                </a:cubicBezTo>
                <a:cubicBezTo>
                  <a:pt x="2434251" y="-15523"/>
                  <a:pt x="2673388" y="35329"/>
                  <a:pt x="2848069" y="0"/>
                </a:cubicBezTo>
                <a:cubicBezTo>
                  <a:pt x="3022750" y="-35329"/>
                  <a:pt x="3166431" y="17668"/>
                  <a:pt x="3469077" y="0"/>
                </a:cubicBezTo>
                <a:cubicBezTo>
                  <a:pt x="3771723" y="-17668"/>
                  <a:pt x="3908630" y="6417"/>
                  <a:pt x="4282811" y="0"/>
                </a:cubicBezTo>
                <a:cubicBezTo>
                  <a:pt x="4319550" y="111715"/>
                  <a:pt x="4255856" y="294390"/>
                  <a:pt x="4282811" y="467205"/>
                </a:cubicBezTo>
                <a:cubicBezTo>
                  <a:pt x="4309766" y="640021"/>
                  <a:pt x="4256828" y="804720"/>
                  <a:pt x="4282811" y="955646"/>
                </a:cubicBezTo>
                <a:cubicBezTo>
                  <a:pt x="4308794" y="1106572"/>
                  <a:pt x="4272670" y="1410920"/>
                  <a:pt x="4282811" y="1529034"/>
                </a:cubicBezTo>
                <a:cubicBezTo>
                  <a:pt x="4292952" y="1647148"/>
                  <a:pt x="4254141" y="1983517"/>
                  <a:pt x="4282811" y="2123658"/>
                </a:cubicBezTo>
                <a:cubicBezTo>
                  <a:pt x="4131065" y="2136475"/>
                  <a:pt x="3873209" y="2114617"/>
                  <a:pt x="3747460" y="2123658"/>
                </a:cubicBezTo>
                <a:cubicBezTo>
                  <a:pt x="3621711" y="2132699"/>
                  <a:pt x="3352554" y="2054815"/>
                  <a:pt x="3126452" y="2123658"/>
                </a:cubicBezTo>
                <a:cubicBezTo>
                  <a:pt x="2900350" y="2192501"/>
                  <a:pt x="2780006" y="2081986"/>
                  <a:pt x="2633929" y="2123658"/>
                </a:cubicBezTo>
                <a:cubicBezTo>
                  <a:pt x="2487852" y="2165330"/>
                  <a:pt x="2359172" y="2102046"/>
                  <a:pt x="2184234" y="2123658"/>
                </a:cubicBezTo>
                <a:cubicBezTo>
                  <a:pt x="2009297" y="2145270"/>
                  <a:pt x="1789306" y="2071690"/>
                  <a:pt x="1648882" y="2123658"/>
                </a:cubicBezTo>
                <a:cubicBezTo>
                  <a:pt x="1508458" y="2175626"/>
                  <a:pt x="1367218" y="2104381"/>
                  <a:pt x="1242015" y="2123658"/>
                </a:cubicBezTo>
                <a:cubicBezTo>
                  <a:pt x="1116812" y="2142935"/>
                  <a:pt x="846060" y="2076407"/>
                  <a:pt x="663836" y="2123658"/>
                </a:cubicBezTo>
                <a:cubicBezTo>
                  <a:pt x="481612" y="2170909"/>
                  <a:pt x="168374" y="2084812"/>
                  <a:pt x="0" y="2123658"/>
                </a:cubicBezTo>
                <a:cubicBezTo>
                  <a:pt x="-40779" y="1935462"/>
                  <a:pt x="33711" y="1841510"/>
                  <a:pt x="0" y="1635217"/>
                </a:cubicBezTo>
                <a:cubicBezTo>
                  <a:pt x="-33711" y="1428924"/>
                  <a:pt x="55745" y="1250992"/>
                  <a:pt x="0" y="1104302"/>
                </a:cubicBezTo>
                <a:cubicBezTo>
                  <a:pt x="-55745" y="957612"/>
                  <a:pt x="43374" y="749547"/>
                  <a:pt x="0" y="637097"/>
                </a:cubicBezTo>
                <a:cubicBezTo>
                  <a:pt x="-43374" y="524648"/>
                  <a:pt x="54745" y="200872"/>
                  <a:pt x="0" y="0"/>
                </a:cubicBezTo>
                <a:close/>
              </a:path>
            </a:pathLst>
          </a:custGeom>
          <a:noFill/>
          <a:ln w="28575">
            <a:solidFill>
              <a:schemeClr val="bg2">
                <a:lumMod val="25000"/>
              </a:schemeClr>
            </a:solidFill>
            <a:extLst>
              <a:ext uri="{C807C97D-BFC1-408E-A445-0C87EB9F89A2}">
                <ask:lineSketchStyleProps xmlns:ask="http://schemas.microsoft.com/office/drawing/2018/sketchyshapes" sd="2592573374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GB" sz="2200" b="1" dirty="0">
                <a:latin typeface="Trebuchet MS" panose="020B0603020202020204" pitchFamily="34" charset="0"/>
              </a:rPr>
              <a:t>Quality control frame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Visual verification of the data for artefact det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Automated anomaly det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Transparent flagging for communic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DFD91E-9B3A-ED10-884A-35FB83A467A7}"/>
              </a:ext>
            </a:extLst>
          </p:cNvPr>
          <p:cNvSpPr txBox="1"/>
          <p:nvPr/>
        </p:nvSpPr>
        <p:spPr>
          <a:xfrm>
            <a:off x="6516465" y="4580467"/>
            <a:ext cx="5259282" cy="1785104"/>
          </a:xfrm>
          <a:custGeom>
            <a:avLst/>
            <a:gdLst>
              <a:gd name="connsiteX0" fmla="*/ 0 w 5259282"/>
              <a:gd name="connsiteY0" fmla="*/ 0 h 1785104"/>
              <a:gd name="connsiteX1" fmla="*/ 479179 w 5259282"/>
              <a:gd name="connsiteY1" fmla="*/ 0 h 1785104"/>
              <a:gd name="connsiteX2" fmla="*/ 1116137 w 5259282"/>
              <a:gd name="connsiteY2" fmla="*/ 0 h 1785104"/>
              <a:gd name="connsiteX3" fmla="*/ 1753094 w 5259282"/>
              <a:gd name="connsiteY3" fmla="*/ 0 h 1785104"/>
              <a:gd name="connsiteX4" fmla="*/ 2232273 w 5259282"/>
              <a:gd name="connsiteY4" fmla="*/ 0 h 1785104"/>
              <a:gd name="connsiteX5" fmla="*/ 2711452 w 5259282"/>
              <a:gd name="connsiteY5" fmla="*/ 0 h 1785104"/>
              <a:gd name="connsiteX6" fmla="*/ 3243224 w 5259282"/>
              <a:gd name="connsiteY6" fmla="*/ 0 h 1785104"/>
              <a:gd name="connsiteX7" fmla="*/ 3669810 w 5259282"/>
              <a:gd name="connsiteY7" fmla="*/ 0 h 1785104"/>
              <a:gd name="connsiteX8" fmla="*/ 4096396 w 5259282"/>
              <a:gd name="connsiteY8" fmla="*/ 0 h 1785104"/>
              <a:gd name="connsiteX9" fmla="*/ 4628168 w 5259282"/>
              <a:gd name="connsiteY9" fmla="*/ 0 h 1785104"/>
              <a:gd name="connsiteX10" fmla="*/ 5259282 w 5259282"/>
              <a:gd name="connsiteY10" fmla="*/ 0 h 1785104"/>
              <a:gd name="connsiteX11" fmla="*/ 5259282 w 5259282"/>
              <a:gd name="connsiteY11" fmla="*/ 577184 h 1785104"/>
              <a:gd name="connsiteX12" fmla="*/ 5259282 w 5259282"/>
              <a:gd name="connsiteY12" fmla="*/ 1118665 h 1785104"/>
              <a:gd name="connsiteX13" fmla="*/ 5259282 w 5259282"/>
              <a:gd name="connsiteY13" fmla="*/ 1785104 h 1785104"/>
              <a:gd name="connsiteX14" fmla="*/ 4674917 w 5259282"/>
              <a:gd name="connsiteY14" fmla="*/ 1785104 h 1785104"/>
              <a:gd name="connsiteX15" fmla="*/ 4195738 w 5259282"/>
              <a:gd name="connsiteY15" fmla="*/ 1785104 h 1785104"/>
              <a:gd name="connsiteX16" fmla="*/ 3558781 w 5259282"/>
              <a:gd name="connsiteY16" fmla="*/ 1785104 h 1785104"/>
              <a:gd name="connsiteX17" fmla="*/ 3027009 w 5259282"/>
              <a:gd name="connsiteY17" fmla="*/ 1785104 h 1785104"/>
              <a:gd name="connsiteX18" fmla="*/ 2547830 w 5259282"/>
              <a:gd name="connsiteY18" fmla="*/ 1785104 h 1785104"/>
              <a:gd name="connsiteX19" fmla="*/ 2121244 w 5259282"/>
              <a:gd name="connsiteY19" fmla="*/ 1785104 h 1785104"/>
              <a:gd name="connsiteX20" fmla="*/ 1484286 w 5259282"/>
              <a:gd name="connsiteY20" fmla="*/ 1785104 h 1785104"/>
              <a:gd name="connsiteX21" fmla="*/ 1057700 w 5259282"/>
              <a:gd name="connsiteY21" fmla="*/ 1785104 h 1785104"/>
              <a:gd name="connsiteX22" fmla="*/ 525928 w 5259282"/>
              <a:gd name="connsiteY22" fmla="*/ 1785104 h 1785104"/>
              <a:gd name="connsiteX23" fmla="*/ 0 w 5259282"/>
              <a:gd name="connsiteY23" fmla="*/ 1785104 h 1785104"/>
              <a:gd name="connsiteX24" fmla="*/ 0 w 5259282"/>
              <a:gd name="connsiteY24" fmla="*/ 1243622 h 1785104"/>
              <a:gd name="connsiteX25" fmla="*/ 0 w 5259282"/>
              <a:gd name="connsiteY25" fmla="*/ 612886 h 1785104"/>
              <a:gd name="connsiteX26" fmla="*/ 0 w 5259282"/>
              <a:gd name="connsiteY26" fmla="*/ 0 h 1785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259282" h="1785104" extrusionOk="0">
                <a:moveTo>
                  <a:pt x="0" y="0"/>
                </a:moveTo>
                <a:cubicBezTo>
                  <a:pt x="170749" y="-8375"/>
                  <a:pt x="278195" y="41754"/>
                  <a:pt x="479179" y="0"/>
                </a:cubicBezTo>
                <a:cubicBezTo>
                  <a:pt x="680163" y="-41754"/>
                  <a:pt x="895785" y="75442"/>
                  <a:pt x="1116137" y="0"/>
                </a:cubicBezTo>
                <a:cubicBezTo>
                  <a:pt x="1336489" y="-75442"/>
                  <a:pt x="1508457" y="20218"/>
                  <a:pt x="1753094" y="0"/>
                </a:cubicBezTo>
                <a:cubicBezTo>
                  <a:pt x="1997731" y="-20218"/>
                  <a:pt x="2067369" y="11087"/>
                  <a:pt x="2232273" y="0"/>
                </a:cubicBezTo>
                <a:cubicBezTo>
                  <a:pt x="2397177" y="-11087"/>
                  <a:pt x="2545089" y="38957"/>
                  <a:pt x="2711452" y="0"/>
                </a:cubicBezTo>
                <a:cubicBezTo>
                  <a:pt x="2877815" y="-38957"/>
                  <a:pt x="3035653" y="57633"/>
                  <a:pt x="3243224" y="0"/>
                </a:cubicBezTo>
                <a:cubicBezTo>
                  <a:pt x="3450795" y="-57633"/>
                  <a:pt x="3485768" y="14942"/>
                  <a:pt x="3669810" y="0"/>
                </a:cubicBezTo>
                <a:cubicBezTo>
                  <a:pt x="3853852" y="-14942"/>
                  <a:pt x="3904813" y="5121"/>
                  <a:pt x="4096396" y="0"/>
                </a:cubicBezTo>
                <a:cubicBezTo>
                  <a:pt x="4287979" y="-5121"/>
                  <a:pt x="4512630" y="45691"/>
                  <a:pt x="4628168" y="0"/>
                </a:cubicBezTo>
                <a:cubicBezTo>
                  <a:pt x="4743706" y="-45691"/>
                  <a:pt x="5111344" y="56101"/>
                  <a:pt x="5259282" y="0"/>
                </a:cubicBezTo>
                <a:cubicBezTo>
                  <a:pt x="5276311" y="278083"/>
                  <a:pt x="5215735" y="426191"/>
                  <a:pt x="5259282" y="577184"/>
                </a:cubicBezTo>
                <a:cubicBezTo>
                  <a:pt x="5302829" y="728177"/>
                  <a:pt x="5256878" y="964377"/>
                  <a:pt x="5259282" y="1118665"/>
                </a:cubicBezTo>
                <a:cubicBezTo>
                  <a:pt x="5261686" y="1272953"/>
                  <a:pt x="5240177" y="1481216"/>
                  <a:pt x="5259282" y="1785104"/>
                </a:cubicBezTo>
                <a:cubicBezTo>
                  <a:pt x="5010462" y="1833749"/>
                  <a:pt x="4889842" y="1717501"/>
                  <a:pt x="4674917" y="1785104"/>
                </a:cubicBezTo>
                <a:cubicBezTo>
                  <a:pt x="4459992" y="1852707"/>
                  <a:pt x="4340708" y="1750882"/>
                  <a:pt x="4195738" y="1785104"/>
                </a:cubicBezTo>
                <a:cubicBezTo>
                  <a:pt x="4050768" y="1819326"/>
                  <a:pt x="3799861" y="1767740"/>
                  <a:pt x="3558781" y="1785104"/>
                </a:cubicBezTo>
                <a:cubicBezTo>
                  <a:pt x="3317701" y="1802468"/>
                  <a:pt x="3222294" y="1747431"/>
                  <a:pt x="3027009" y="1785104"/>
                </a:cubicBezTo>
                <a:cubicBezTo>
                  <a:pt x="2831724" y="1822777"/>
                  <a:pt x="2716447" y="1748737"/>
                  <a:pt x="2547830" y="1785104"/>
                </a:cubicBezTo>
                <a:cubicBezTo>
                  <a:pt x="2379213" y="1821471"/>
                  <a:pt x="2227795" y="1750521"/>
                  <a:pt x="2121244" y="1785104"/>
                </a:cubicBezTo>
                <a:cubicBezTo>
                  <a:pt x="2014693" y="1819687"/>
                  <a:pt x="1696889" y="1724539"/>
                  <a:pt x="1484286" y="1785104"/>
                </a:cubicBezTo>
                <a:cubicBezTo>
                  <a:pt x="1271683" y="1845669"/>
                  <a:pt x="1181516" y="1758500"/>
                  <a:pt x="1057700" y="1785104"/>
                </a:cubicBezTo>
                <a:cubicBezTo>
                  <a:pt x="933884" y="1811708"/>
                  <a:pt x="787968" y="1767861"/>
                  <a:pt x="525928" y="1785104"/>
                </a:cubicBezTo>
                <a:cubicBezTo>
                  <a:pt x="263888" y="1802347"/>
                  <a:pt x="180477" y="1757486"/>
                  <a:pt x="0" y="1785104"/>
                </a:cubicBezTo>
                <a:cubicBezTo>
                  <a:pt x="-61844" y="1579111"/>
                  <a:pt x="63867" y="1415953"/>
                  <a:pt x="0" y="1243622"/>
                </a:cubicBezTo>
                <a:cubicBezTo>
                  <a:pt x="-63867" y="1071291"/>
                  <a:pt x="58559" y="874040"/>
                  <a:pt x="0" y="612886"/>
                </a:cubicBezTo>
                <a:cubicBezTo>
                  <a:pt x="-58559" y="351732"/>
                  <a:pt x="38193" y="219933"/>
                  <a:pt x="0" y="0"/>
                </a:cubicBezTo>
                <a:close/>
              </a:path>
            </a:pathLst>
          </a:custGeom>
          <a:noFill/>
          <a:ln w="28575">
            <a:solidFill>
              <a:schemeClr val="bg2">
                <a:lumMod val="10000"/>
              </a:schemeClr>
            </a:solidFill>
            <a:extLst>
              <a:ext uri="{C807C97D-BFC1-408E-A445-0C87EB9F89A2}">
                <ask:lineSketchStyleProps xmlns:ask="http://schemas.microsoft.com/office/drawing/2018/sketchyshapes" sd="331125222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GB" sz="2200" dirty="0">
                <a:latin typeface="Trebuchet MS" panose="020B0603020202020204" pitchFamily="34" charset="0"/>
              </a:rPr>
              <a:t>to understand that a dataset will never be perfect…</a:t>
            </a:r>
          </a:p>
          <a:p>
            <a:endParaRPr lang="en-GB" sz="2200" dirty="0">
              <a:latin typeface="Trebuchet MS" panose="020B0603020202020204" pitchFamily="34" charset="0"/>
            </a:endParaRPr>
          </a:p>
          <a:p>
            <a:r>
              <a:rPr lang="en-GB" sz="2200" dirty="0">
                <a:latin typeface="Trebuchet MS" panose="020B0603020202020204" pitchFamily="34" charset="0"/>
              </a:rPr>
              <a:t>… and that there’s always scope for an update if there’s demand.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139A7A99-AC66-ED04-EAC6-3091A70C5EED}"/>
              </a:ext>
            </a:extLst>
          </p:cNvPr>
          <p:cNvSpPr/>
          <p:nvPr/>
        </p:nvSpPr>
        <p:spPr>
          <a:xfrm>
            <a:off x="4394685" y="1892496"/>
            <a:ext cx="955476" cy="733753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B9DB150-3E38-A4AF-D001-08F0E22A93E1}"/>
              </a:ext>
            </a:extLst>
          </p:cNvPr>
          <p:cNvSpPr txBox="1"/>
          <p:nvPr/>
        </p:nvSpPr>
        <p:spPr>
          <a:xfrm>
            <a:off x="4212311" y="2626249"/>
            <a:ext cx="124745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200" dirty="0">
                <a:latin typeface="Trebuchet MS" panose="020B0603020202020204" pitchFamily="34" charset="0"/>
              </a:rPr>
              <a:t>Leads to</a:t>
            </a:r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286CD8FD-AEF9-DF80-DAE5-C8478D38FB44}"/>
              </a:ext>
            </a:extLst>
          </p:cNvPr>
          <p:cNvSpPr/>
          <p:nvPr/>
        </p:nvSpPr>
        <p:spPr>
          <a:xfrm rot="3409407">
            <a:off x="4680886" y="3293307"/>
            <a:ext cx="862430" cy="73968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7D3356-E1A4-D0A9-A492-E4CA8308BD0D}"/>
              </a:ext>
            </a:extLst>
          </p:cNvPr>
          <p:cNvSpPr txBox="1"/>
          <p:nvPr/>
        </p:nvSpPr>
        <p:spPr>
          <a:xfrm rot="19550441">
            <a:off x="4819891" y="3841740"/>
            <a:ext cx="17507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200" dirty="0">
                <a:latin typeface="Trebuchet MS" panose="020B0603020202020204" pitchFamily="34" charset="0"/>
              </a:rPr>
              <a:t>Which requires</a:t>
            </a:r>
          </a:p>
        </p:txBody>
      </p:sp>
      <p:sp>
        <p:nvSpPr>
          <p:cNvPr id="14" name="Arrow: Down 13">
            <a:extLst>
              <a:ext uri="{FF2B5EF4-FFF2-40B4-BE49-F238E27FC236}">
                <a16:creationId xmlns:a16="http://schemas.microsoft.com/office/drawing/2014/main" id="{A7B78589-1817-05A7-90D1-5494FE919069}"/>
              </a:ext>
            </a:extLst>
          </p:cNvPr>
          <p:cNvSpPr/>
          <p:nvPr/>
        </p:nvSpPr>
        <p:spPr>
          <a:xfrm>
            <a:off x="7613607" y="3685257"/>
            <a:ext cx="895825" cy="707196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C75B0D7-22CA-13DE-67A3-089ED7908FAF}"/>
              </a:ext>
            </a:extLst>
          </p:cNvPr>
          <p:cNvSpPr txBox="1"/>
          <p:nvPr/>
        </p:nvSpPr>
        <p:spPr>
          <a:xfrm>
            <a:off x="8509432" y="3623012"/>
            <a:ext cx="278113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200" dirty="0">
                <a:latin typeface="Trebuchet MS" panose="020B0603020202020204" pitchFamily="34" charset="0"/>
              </a:rPr>
              <a:t>Nevertheless, it’s needed</a:t>
            </a:r>
          </a:p>
        </p:txBody>
      </p:sp>
      <p:pic>
        <p:nvPicPr>
          <p:cNvPr id="16" name="Picture 15" descr="A blue and white logo&#10;&#10;AI-generated content may be incorrect.">
            <a:extLst>
              <a:ext uri="{FF2B5EF4-FFF2-40B4-BE49-F238E27FC236}">
                <a16:creationId xmlns:a16="http://schemas.microsoft.com/office/drawing/2014/main" id="{6AE92424-12D0-4113-8EBE-F2DEC12AB8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5647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0ECAA3-DF0E-9F43-6AF2-3C09C38D79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F5B0987-0D02-C869-3BD5-8FE0D7417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7915072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Summary on how to use the dataset</a:t>
            </a:r>
            <a:endParaRPr lang="en-US" dirty="0">
              <a:latin typeface="Trebuchet MS" panose="020B0603020202020204" pitchFamily="34" charset="0"/>
            </a:endParaRPr>
          </a:p>
        </p:txBody>
      </p:sp>
      <p:sp>
        <p:nvSpPr>
          <p:cNvPr id="11" name="Rectangle: Rounded Corners 10">
            <a:hlinkClick r:id="rId2" action="ppaction://hlinksldjump"/>
            <a:extLst>
              <a:ext uri="{FF2B5EF4-FFF2-40B4-BE49-F238E27FC236}">
                <a16:creationId xmlns:a16="http://schemas.microsoft.com/office/drawing/2014/main" id="{37B59A12-47EB-9D33-4701-306681D1B022}"/>
              </a:ext>
            </a:extLst>
          </p:cNvPr>
          <p:cNvSpPr/>
          <p:nvPr/>
        </p:nvSpPr>
        <p:spPr>
          <a:xfrm>
            <a:off x="8653895" y="626400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Use it</a:t>
            </a:r>
          </a:p>
        </p:txBody>
      </p:sp>
      <p:sp>
        <p:nvSpPr>
          <p:cNvPr id="21" name="Footer Placeholder 53">
            <a:extLst>
              <a:ext uri="{FF2B5EF4-FFF2-40B4-BE49-F238E27FC236}">
                <a16:creationId xmlns:a16="http://schemas.microsoft.com/office/drawing/2014/main" id="{294DBFFC-C161-981B-CDAD-6C0087CBC75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22" name="Rectangle: Rounded Corners 21">
            <a:hlinkClick r:id="rId3" action="ppaction://hlinksldjump"/>
            <a:extLst>
              <a:ext uri="{FF2B5EF4-FFF2-40B4-BE49-F238E27FC236}">
                <a16:creationId xmlns:a16="http://schemas.microsoft.com/office/drawing/2014/main" id="{E4FFF292-6918-82CA-6327-BBEC21379089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23" name="Rectangle: Rounded Corners 22">
            <a:hlinkClick r:id="rId4" action="ppaction://hlinksldjump"/>
            <a:extLst>
              <a:ext uri="{FF2B5EF4-FFF2-40B4-BE49-F238E27FC236}">
                <a16:creationId xmlns:a16="http://schemas.microsoft.com/office/drawing/2014/main" id="{9C16EE91-7684-114F-FF9A-9906548B8A6A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8BDF83-84D7-F90D-5339-2CC2EECF2629}"/>
              </a:ext>
            </a:extLst>
          </p:cNvPr>
          <p:cNvSpPr txBox="1"/>
          <p:nvPr/>
        </p:nvSpPr>
        <p:spPr>
          <a:xfrm>
            <a:off x="442759" y="1780742"/>
            <a:ext cx="4288898" cy="1785104"/>
          </a:xfrm>
          <a:custGeom>
            <a:avLst/>
            <a:gdLst>
              <a:gd name="connsiteX0" fmla="*/ 0 w 4288898"/>
              <a:gd name="connsiteY0" fmla="*/ 0 h 1785104"/>
              <a:gd name="connsiteX1" fmla="*/ 621890 w 4288898"/>
              <a:gd name="connsiteY1" fmla="*/ 0 h 1785104"/>
              <a:gd name="connsiteX2" fmla="*/ 1072225 w 4288898"/>
              <a:gd name="connsiteY2" fmla="*/ 0 h 1785104"/>
              <a:gd name="connsiteX3" fmla="*/ 1479670 w 4288898"/>
              <a:gd name="connsiteY3" fmla="*/ 0 h 1785104"/>
              <a:gd name="connsiteX4" fmla="*/ 1930004 w 4288898"/>
              <a:gd name="connsiteY4" fmla="*/ 0 h 1785104"/>
              <a:gd name="connsiteX5" fmla="*/ 2380338 w 4288898"/>
              <a:gd name="connsiteY5" fmla="*/ 0 h 1785104"/>
              <a:gd name="connsiteX6" fmla="*/ 3002229 w 4288898"/>
              <a:gd name="connsiteY6" fmla="*/ 0 h 1785104"/>
              <a:gd name="connsiteX7" fmla="*/ 3581230 w 4288898"/>
              <a:gd name="connsiteY7" fmla="*/ 0 h 1785104"/>
              <a:gd name="connsiteX8" fmla="*/ 4288898 w 4288898"/>
              <a:gd name="connsiteY8" fmla="*/ 0 h 1785104"/>
              <a:gd name="connsiteX9" fmla="*/ 4288898 w 4288898"/>
              <a:gd name="connsiteY9" fmla="*/ 577184 h 1785104"/>
              <a:gd name="connsiteX10" fmla="*/ 4288898 w 4288898"/>
              <a:gd name="connsiteY10" fmla="*/ 1190069 h 1785104"/>
              <a:gd name="connsiteX11" fmla="*/ 4288898 w 4288898"/>
              <a:gd name="connsiteY11" fmla="*/ 1785104 h 1785104"/>
              <a:gd name="connsiteX12" fmla="*/ 3838564 w 4288898"/>
              <a:gd name="connsiteY12" fmla="*/ 1785104 h 1785104"/>
              <a:gd name="connsiteX13" fmla="*/ 3302451 w 4288898"/>
              <a:gd name="connsiteY13" fmla="*/ 1785104 h 1785104"/>
              <a:gd name="connsiteX14" fmla="*/ 2852117 w 4288898"/>
              <a:gd name="connsiteY14" fmla="*/ 1785104 h 1785104"/>
              <a:gd name="connsiteX15" fmla="*/ 2401783 w 4288898"/>
              <a:gd name="connsiteY15" fmla="*/ 1785104 h 1785104"/>
              <a:gd name="connsiteX16" fmla="*/ 1865671 w 4288898"/>
              <a:gd name="connsiteY16" fmla="*/ 1785104 h 1785104"/>
              <a:gd name="connsiteX17" fmla="*/ 1415336 w 4288898"/>
              <a:gd name="connsiteY17" fmla="*/ 1785104 h 1785104"/>
              <a:gd name="connsiteX18" fmla="*/ 965002 w 4288898"/>
              <a:gd name="connsiteY18" fmla="*/ 1785104 h 1785104"/>
              <a:gd name="connsiteX19" fmla="*/ 0 w 4288898"/>
              <a:gd name="connsiteY19" fmla="*/ 1785104 h 1785104"/>
              <a:gd name="connsiteX20" fmla="*/ 0 w 4288898"/>
              <a:gd name="connsiteY20" fmla="*/ 1190069 h 1785104"/>
              <a:gd name="connsiteX21" fmla="*/ 0 w 4288898"/>
              <a:gd name="connsiteY21" fmla="*/ 577184 h 1785104"/>
              <a:gd name="connsiteX22" fmla="*/ 0 w 4288898"/>
              <a:gd name="connsiteY22" fmla="*/ 0 h 1785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288898" h="1785104" extrusionOk="0">
                <a:moveTo>
                  <a:pt x="0" y="0"/>
                </a:moveTo>
                <a:cubicBezTo>
                  <a:pt x="271940" y="-32222"/>
                  <a:pt x="413135" y="12006"/>
                  <a:pt x="621890" y="0"/>
                </a:cubicBezTo>
                <a:cubicBezTo>
                  <a:pt x="830645" y="-12006"/>
                  <a:pt x="850885" y="3537"/>
                  <a:pt x="1072225" y="0"/>
                </a:cubicBezTo>
                <a:cubicBezTo>
                  <a:pt x="1293565" y="-3537"/>
                  <a:pt x="1363554" y="29086"/>
                  <a:pt x="1479670" y="0"/>
                </a:cubicBezTo>
                <a:cubicBezTo>
                  <a:pt x="1595787" y="-29086"/>
                  <a:pt x="1791037" y="28006"/>
                  <a:pt x="1930004" y="0"/>
                </a:cubicBezTo>
                <a:cubicBezTo>
                  <a:pt x="2068971" y="-28006"/>
                  <a:pt x="2274578" y="38551"/>
                  <a:pt x="2380338" y="0"/>
                </a:cubicBezTo>
                <a:cubicBezTo>
                  <a:pt x="2486098" y="-38551"/>
                  <a:pt x="2723520" y="36798"/>
                  <a:pt x="3002229" y="0"/>
                </a:cubicBezTo>
                <a:cubicBezTo>
                  <a:pt x="3280938" y="-36798"/>
                  <a:pt x="3435980" y="10872"/>
                  <a:pt x="3581230" y="0"/>
                </a:cubicBezTo>
                <a:cubicBezTo>
                  <a:pt x="3726480" y="-10872"/>
                  <a:pt x="4021615" y="48789"/>
                  <a:pt x="4288898" y="0"/>
                </a:cubicBezTo>
                <a:cubicBezTo>
                  <a:pt x="4308257" y="127706"/>
                  <a:pt x="4282406" y="416098"/>
                  <a:pt x="4288898" y="577184"/>
                </a:cubicBezTo>
                <a:cubicBezTo>
                  <a:pt x="4295390" y="738270"/>
                  <a:pt x="4253806" y="1067022"/>
                  <a:pt x="4288898" y="1190069"/>
                </a:cubicBezTo>
                <a:cubicBezTo>
                  <a:pt x="4323990" y="1313117"/>
                  <a:pt x="4257274" y="1634742"/>
                  <a:pt x="4288898" y="1785104"/>
                </a:cubicBezTo>
                <a:cubicBezTo>
                  <a:pt x="4163329" y="1791916"/>
                  <a:pt x="3988831" y="1775065"/>
                  <a:pt x="3838564" y="1785104"/>
                </a:cubicBezTo>
                <a:cubicBezTo>
                  <a:pt x="3688297" y="1795143"/>
                  <a:pt x="3550078" y="1765730"/>
                  <a:pt x="3302451" y="1785104"/>
                </a:cubicBezTo>
                <a:cubicBezTo>
                  <a:pt x="3054824" y="1804478"/>
                  <a:pt x="2947773" y="1736720"/>
                  <a:pt x="2852117" y="1785104"/>
                </a:cubicBezTo>
                <a:cubicBezTo>
                  <a:pt x="2756461" y="1833488"/>
                  <a:pt x="2582635" y="1761561"/>
                  <a:pt x="2401783" y="1785104"/>
                </a:cubicBezTo>
                <a:cubicBezTo>
                  <a:pt x="2220931" y="1808647"/>
                  <a:pt x="2064137" y="1734538"/>
                  <a:pt x="1865671" y="1785104"/>
                </a:cubicBezTo>
                <a:cubicBezTo>
                  <a:pt x="1667205" y="1835670"/>
                  <a:pt x="1590576" y="1756789"/>
                  <a:pt x="1415336" y="1785104"/>
                </a:cubicBezTo>
                <a:cubicBezTo>
                  <a:pt x="1240096" y="1813419"/>
                  <a:pt x="1108526" y="1767692"/>
                  <a:pt x="965002" y="1785104"/>
                </a:cubicBezTo>
                <a:cubicBezTo>
                  <a:pt x="821478" y="1802516"/>
                  <a:pt x="249975" y="1714481"/>
                  <a:pt x="0" y="1785104"/>
                </a:cubicBezTo>
                <a:cubicBezTo>
                  <a:pt x="-55415" y="1575438"/>
                  <a:pt x="55695" y="1314697"/>
                  <a:pt x="0" y="1190069"/>
                </a:cubicBezTo>
                <a:cubicBezTo>
                  <a:pt x="-55695" y="1065442"/>
                  <a:pt x="52741" y="704888"/>
                  <a:pt x="0" y="577184"/>
                </a:cubicBezTo>
                <a:cubicBezTo>
                  <a:pt x="-52741" y="449480"/>
                  <a:pt x="33983" y="142624"/>
                  <a:pt x="0" y="0"/>
                </a:cubicBezTo>
                <a:close/>
              </a:path>
            </a:pathLst>
          </a:custGeom>
          <a:noFill/>
          <a:ln w="28575">
            <a:solidFill>
              <a:schemeClr val="accent2">
                <a:lumMod val="20000"/>
                <a:lumOff val="80000"/>
              </a:schemeClr>
            </a:solidFill>
            <a:extLst>
              <a:ext uri="{C807C97D-BFC1-408E-A445-0C87EB9F89A2}">
                <ask:lineSketchStyleProps xmlns:ask="http://schemas.microsoft.com/office/drawing/2018/sketchyshapes" sd="59458121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200" b="1" dirty="0">
                <a:latin typeface="Trebuchet MS" panose="020B0603020202020204" pitchFamily="34" charset="0"/>
              </a:rPr>
              <a:t>The dataset</a:t>
            </a:r>
          </a:p>
          <a:p>
            <a:r>
              <a:rPr lang="en-GB" sz="2200" dirty="0">
                <a:latin typeface="Trebuchet MS" panose="020B0603020202020204" pitchFamily="34" charset="0"/>
              </a:rPr>
              <a:t>UK-wide coverage</a:t>
            </a:r>
          </a:p>
          <a:p>
            <a:r>
              <a:rPr lang="en-GB" sz="2200" dirty="0">
                <a:latin typeface="Trebuchet MS" panose="020B0603020202020204" pitchFamily="34" charset="0"/>
              </a:rPr>
              <a:t>Simple timeseries csv format</a:t>
            </a:r>
          </a:p>
          <a:p>
            <a:r>
              <a:rPr lang="en-GB" sz="2200" dirty="0">
                <a:latin typeface="Trebuchet MS" panose="020B0603020202020204" pitchFamily="34" charset="0"/>
              </a:rPr>
              <a:t>Rich metadata available for full contex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8173E22-ACF6-E748-CDDD-B6352D7C6E57}"/>
              </a:ext>
            </a:extLst>
          </p:cNvPr>
          <p:cNvSpPr txBox="1"/>
          <p:nvPr/>
        </p:nvSpPr>
        <p:spPr>
          <a:xfrm>
            <a:off x="6966857" y="1595859"/>
            <a:ext cx="5016547" cy="1785104"/>
          </a:xfrm>
          <a:custGeom>
            <a:avLst/>
            <a:gdLst>
              <a:gd name="connsiteX0" fmla="*/ 0 w 5016547"/>
              <a:gd name="connsiteY0" fmla="*/ 0 h 1785104"/>
              <a:gd name="connsiteX1" fmla="*/ 457063 w 5016547"/>
              <a:gd name="connsiteY1" fmla="*/ 0 h 1785104"/>
              <a:gd name="connsiteX2" fmla="*/ 1064623 w 5016547"/>
              <a:gd name="connsiteY2" fmla="*/ 0 h 1785104"/>
              <a:gd name="connsiteX3" fmla="*/ 1722348 w 5016547"/>
              <a:gd name="connsiteY3" fmla="*/ 0 h 1785104"/>
              <a:gd name="connsiteX4" fmla="*/ 2329907 w 5016547"/>
              <a:gd name="connsiteY4" fmla="*/ 0 h 1785104"/>
              <a:gd name="connsiteX5" fmla="*/ 2987632 w 5016547"/>
              <a:gd name="connsiteY5" fmla="*/ 0 h 1785104"/>
              <a:gd name="connsiteX6" fmla="*/ 3645357 w 5016547"/>
              <a:gd name="connsiteY6" fmla="*/ 0 h 1785104"/>
              <a:gd name="connsiteX7" fmla="*/ 4252917 w 5016547"/>
              <a:gd name="connsiteY7" fmla="*/ 0 h 1785104"/>
              <a:gd name="connsiteX8" fmla="*/ 5016547 w 5016547"/>
              <a:gd name="connsiteY8" fmla="*/ 0 h 1785104"/>
              <a:gd name="connsiteX9" fmla="*/ 5016547 w 5016547"/>
              <a:gd name="connsiteY9" fmla="*/ 577184 h 1785104"/>
              <a:gd name="connsiteX10" fmla="*/ 5016547 w 5016547"/>
              <a:gd name="connsiteY10" fmla="*/ 1190069 h 1785104"/>
              <a:gd name="connsiteX11" fmla="*/ 5016547 w 5016547"/>
              <a:gd name="connsiteY11" fmla="*/ 1785104 h 1785104"/>
              <a:gd name="connsiteX12" fmla="*/ 4358822 w 5016547"/>
              <a:gd name="connsiteY12" fmla="*/ 1785104 h 1785104"/>
              <a:gd name="connsiteX13" fmla="*/ 3801428 w 5016547"/>
              <a:gd name="connsiteY13" fmla="*/ 1785104 h 1785104"/>
              <a:gd name="connsiteX14" fmla="*/ 3193868 w 5016547"/>
              <a:gd name="connsiteY14" fmla="*/ 1785104 h 1785104"/>
              <a:gd name="connsiteX15" fmla="*/ 2736805 w 5016547"/>
              <a:gd name="connsiteY15" fmla="*/ 1785104 h 1785104"/>
              <a:gd name="connsiteX16" fmla="*/ 2129246 w 5016547"/>
              <a:gd name="connsiteY16" fmla="*/ 1785104 h 1785104"/>
              <a:gd name="connsiteX17" fmla="*/ 1672182 w 5016547"/>
              <a:gd name="connsiteY17" fmla="*/ 1785104 h 1785104"/>
              <a:gd name="connsiteX18" fmla="*/ 1164954 w 5016547"/>
              <a:gd name="connsiteY18" fmla="*/ 1785104 h 1785104"/>
              <a:gd name="connsiteX19" fmla="*/ 607560 w 5016547"/>
              <a:gd name="connsiteY19" fmla="*/ 1785104 h 1785104"/>
              <a:gd name="connsiteX20" fmla="*/ 0 w 5016547"/>
              <a:gd name="connsiteY20" fmla="*/ 1785104 h 1785104"/>
              <a:gd name="connsiteX21" fmla="*/ 0 w 5016547"/>
              <a:gd name="connsiteY21" fmla="*/ 1243622 h 1785104"/>
              <a:gd name="connsiteX22" fmla="*/ 0 w 5016547"/>
              <a:gd name="connsiteY22" fmla="*/ 612886 h 1785104"/>
              <a:gd name="connsiteX23" fmla="*/ 0 w 5016547"/>
              <a:gd name="connsiteY23" fmla="*/ 0 h 1785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016547" h="1785104" extrusionOk="0">
                <a:moveTo>
                  <a:pt x="0" y="0"/>
                </a:moveTo>
                <a:cubicBezTo>
                  <a:pt x="200733" y="-21890"/>
                  <a:pt x="353501" y="54669"/>
                  <a:pt x="457063" y="0"/>
                </a:cubicBezTo>
                <a:cubicBezTo>
                  <a:pt x="560625" y="-54669"/>
                  <a:pt x="887695" y="20822"/>
                  <a:pt x="1064623" y="0"/>
                </a:cubicBezTo>
                <a:cubicBezTo>
                  <a:pt x="1241551" y="-20822"/>
                  <a:pt x="1395237" y="66466"/>
                  <a:pt x="1722348" y="0"/>
                </a:cubicBezTo>
                <a:cubicBezTo>
                  <a:pt x="2049459" y="-66466"/>
                  <a:pt x="2075033" y="358"/>
                  <a:pt x="2329907" y="0"/>
                </a:cubicBezTo>
                <a:cubicBezTo>
                  <a:pt x="2584781" y="-358"/>
                  <a:pt x="2669449" y="62249"/>
                  <a:pt x="2987632" y="0"/>
                </a:cubicBezTo>
                <a:cubicBezTo>
                  <a:pt x="3305816" y="-62249"/>
                  <a:pt x="3475971" y="36470"/>
                  <a:pt x="3645357" y="0"/>
                </a:cubicBezTo>
                <a:cubicBezTo>
                  <a:pt x="3814743" y="-36470"/>
                  <a:pt x="4021119" y="63854"/>
                  <a:pt x="4252917" y="0"/>
                </a:cubicBezTo>
                <a:cubicBezTo>
                  <a:pt x="4484715" y="-63854"/>
                  <a:pt x="4652521" y="36003"/>
                  <a:pt x="5016547" y="0"/>
                </a:cubicBezTo>
                <a:cubicBezTo>
                  <a:pt x="5040692" y="224339"/>
                  <a:pt x="4996037" y="304702"/>
                  <a:pt x="5016547" y="577184"/>
                </a:cubicBezTo>
                <a:cubicBezTo>
                  <a:pt x="5037057" y="849666"/>
                  <a:pt x="4955829" y="1039003"/>
                  <a:pt x="5016547" y="1190069"/>
                </a:cubicBezTo>
                <a:cubicBezTo>
                  <a:pt x="5077265" y="1341136"/>
                  <a:pt x="4988765" y="1547588"/>
                  <a:pt x="5016547" y="1785104"/>
                </a:cubicBezTo>
                <a:cubicBezTo>
                  <a:pt x="4830600" y="1832919"/>
                  <a:pt x="4497234" y="1745752"/>
                  <a:pt x="4358822" y="1785104"/>
                </a:cubicBezTo>
                <a:cubicBezTo>
                  <a:pt x="4220411" y="1824456"/>
                  <a:pt x="3917090" y="1741043"/>
                  <a:pt x="3801428" y="1785104"/>
                </a:cubicBezTo>
                <a:cubicBezTo>
                  <a:pt x="3685766" y="1829165"/>
                  <a:pt x="3478391" y="1736963"/>
                  <a:pt x="3193868" y="1785104"/>
                </a:cubicBezTo>
                <a:cubicBezTo>
                  <a:pt x="2909345" y="1833245"/>
                  <a:pt x="2927568" y="1734510"/>
                  <a:pt x="2736805" y="1785104"/>
                </a:cubicBezTo>
                <a:cubicBezTo>
                  <a:pt x="2546042" y="1835698"/>
                  <a:pt x="2282218" y="1753891"/>
                  <a:pt x="2129246" y="1785104"/>
                </a:cubicBezTo>
                <a:cubicBezTo>
                  <a:pt x="1976274" y="1816317"/>
                  <a:pt x="1823991" y="1757135"/>
                  <a:pt x="1672182" y="1785104"/>
                </a:cubicBezTo>
                <a:cubicBezTo>
                  <a:pt x="1520373" y="1813073"/>
                  <a:pt x="1352474" y="1736107"/>
                  <a:pt x="1164954" y="1785104"/>
                </a:cubicBezTo>
                <a:cubicBezTo>
                  <a:pt x="977434" y="1834101"/>
                  <a:pt x="821176" y="1720055"/>
                  <a:pt x="607560" y="1785104"/>
                </a:cubicBezTo>
                <a:cubicBezTo>
                  <a:pt x="393944" y="1850153"/>
                  <a:pt x="163603" y="1720730"/>
                  <a:pt x="0" y="1785104"/>
                </a:cubicBezTo>
                <a:cubicBezTo>
                  <a:pt x="-35703" y="1585716"/>
                  <a:pt x="44962" y="1352056"/>
                  <a:pt x="0" y="1243622"/>
                </a:cubicBezTo>
                <a:cubicBezTo>
                  <a:pt x="-44962" y="1135188"/>
                  <a:pt x="75238" y="848997"/>
                  <a:pt x="0" y="612886"/>
                </a:cubicBezTo>
                <a:cubicBezTo>
                  <a:pt x="-75238" y="376775"/>
                  <a:pt x="33702" y="228540"/>
                  <a:pt x="0" y="0"/>
                </a:cubicBezTo>
                <a:close/>
              </a:path>
            </a:pathLst>
          </a:custGeom>
          <a:noFill/>
          <a:ln w="28575">
            <a:solidFill>
              <a:schemeClr val="accent4">
                <a:lumMod val="25000"/>
              </a:schemeClr>
            </a:solidFill>
            <a:extLst>
              <a:ext uri="{C807C97D-BFC1-408E-A445-0C87EB9F89A2}">
                <ask:lineSketchStyleProps xmlns:ask="http://schemas.microsoft.com/office/drawing/2018/sketchyshapes" sd="2609171795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200" b="1" dirty="0">
                <a:latin typeface="Trebuchet MS" panose="020B0603020202020204" pitchFamily="34" charset="0"/>
              </a:rPr>
              <a:t>1) Check suitability</a:t>
            </a:r>
          </a:p>
          <a:p>
            <a:r>
              <a:rPr lang="en-GB" sz="2200" dirty="0">
                <a:latin typeface="Trebuchet MS" panose="020B0603020202020204" pitchFamily="34" charset="0"/>
              </a:rPr>
              <a:t>Do you need that high of a resolution?</a:t>
            </a:r>
          </a:p>
          <a:p>
            <a:r>
              <a:rPr lang="en-GB" sz="2200" dirty="0">
                <a:latin typeface="Trebuchet MS" panose="020B0603020202020204" pitchFamily="34" charset="0"/>
              </a:rPr>
              <a:t>Do you need a continuous series?</a:t>
            </a:r>
          </a:p>
          <a:p>
            <a:r>
              <a:rPr lang="en-GB" sz="2200" dirty="0">
                <a:latin typeface="Trebuchet MS" panose="020B0603020202020204" pitchFamily="34" charset="0"/>
              </a:rPr>
              <a:t>Do you need flows only (or also other products)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5D7F8D-C8A8-A475-C2EA-B0484BBFBA0F}"/>
              </a:ext>
            </a:extLst>
          </p:cNvPr>
          <p:cNvSpPr txBox="1"/>
          <p:nvPr/>
        </p:nvSpPr>
        <p:spPr>
          <a:xfrm>
            <a:off x="594381" y="4835450"/>
            <a:ext cx="3110147" cy="1446550"/>
          </a:xfrm>
          <a:custGeom>
            <a:avLst/>
            <a:gdLst>
              <a:gd name="connsiteX0" fmla="*/ 0 w 3110147"/>
              <a:gd name="connsiteY0" fmla="*/ 0 h 1446550"/>
              <a:gd name="connsiteX1" fmla="*/ 518358 w 3110147"/>
              <a:gd name="connsiteY1" fmla="*/ 0 h 1446550"/>
              <a:gd name="connsiteX2" fmla="*/ 1098919 w 3110147"/>
              <a:gd name="connsiteY2" fmla="*/ 0 h 1446550"/>
              <a:gd name="connsiteX3" fmla="*/ 1617276 w 3110147"/>
              <a:gd name="connsiteY3" fmla="*/ 0 h 1446550"/>
              <a:gd name="connsiteX4" fmla="*/ 2073431 w 3110147"/>
              <a:gd name="connsiteY4" fmla="*/ 0 h 1446550"/>
              <a:gd name="connsiteX5" fmla="*/ 2529586 w 3110147"/>
              <a:gd name="connsiteY5" fmla="*/ 0 h 1446550"/>
              <a:gd name="connsiteX6" fmla="*/ 3110147 w 3110147"/>
              <a:gd name="connsiteY6" fmla="*/ 0 h 1446550"/>
              <a:gd name="connsiteX7" fmla="*/ 3110147 w 3110147"/>
              <a:gd name="connsiteY7" fmla="*/ 453252 h 1446550"/>
              <a:gd name="connsiteX8" fmla="*/ 3110147 w 3110147"/>
              <a:gd name="connsiteY8" fmla="*/ 892039 h 1446550"/>
              <a:gd name="connsiteX9" fmla="*/ 3110147 w 3110147"/>
              <a:gd name="connsiteY9" fmla="*/ 1446550 h 1446550"/>
              <a:gd name="connsiteX10" fmla="*/ 2653992 w 3110147"/>
              <a:gd name="connsiteY10" fmla="*/ 1446550 h 1446550"/>
              <a:gd name="connsiteX11" fmla="*/ 2104533 w 3110147"/>
              <a:gd name="connsiteY11" fmla="*/ 1446550 h 1446550"/>
              <a:gd name="connsiteX12" fmla="*/ 1586175 w 3110147"/>
              <a:gd name="connsiteY12" fmla="*/ 1446550 h 1446550"/>
              <a:gd name="connsiteX13" fmla="*/ 1005614 w 3110147"/>
              <a:gd name="connsiteY13" fmla="*/ 1446550 h 1446550"/>
              <a:gd name="connsiteX14" fmla="*/ 549459 w 3110147"/>
              <a:gd name="connsiteY14" fmla="*/ 1446550 h 1446550"/>
              <a:gd name="connsiteX15" fmla="*/ 0 w 3110147"/>
              <a:gd name="connsiteY15" fmla="*/ 1446550 h 1446550"/>
              <a:gd name="connsiteX16" fmla="*/ 0 w 3110147"/>
              <a:gd name="connsiteY16" fmla="*/ 993298 h 1446550"/>
              <a:gd name="connsiteX17" fmla="*/ 0 w 3110147"/>
              <a:gd name="connsiteY17" fmla="*/ 525580 h 1446550"/>
              <a:gd name="connsiteX18" fmla="*/ 0 w 3110147"/>
              <a:gd name="connsiteY18" fmla="*/ 0 h 14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110147" h="1446550" extrusionOk="0">
                <a:moveTo>
                  <a:pt x="0" y="0"/>
                </a:moveTo>
                <a:cubicBezTo>
                  <a:pt x="209373" y="-51525"/>
                  <a:pt x="326990" y="47482"/>
                  <a:pt x="518358" y="0"/>
                </a:cubicBezTo>
                <a:cubicBezTo>
                  <a:pt x="709726" y="-47482"/>
                  <a:pt x="849000" y="3062"/>
                  <a:pt x="1098919" y="0"/>
                </a:cubicBezTo>
                <a:cubicBezTo>
                  <a:pt x="1348838" y="-3062"/>
                  <a:pt x="1483708" y="22850"/>
                  <a:pt x="1617276" y="0"/>
                </a:cubicBezTo>
                <a:cubicBezTo>
                  <a:pt x="1750844" y="-22850"/>
                  <a:pt x="1970418" y="30317"/>
                  <a:pt x="2073431" y="0"/>
                </a:cubicBezTo>
                <a:cubicBezTo>
                  <a:pt x="2176444" y="-30317"/>
                  <a:pt x="2352907" y="334"/>
                  <a:pt x="2529586" y="0"/>
                </a:cubicBezTo>
                <a:cubicBezTo>
                  <a:pt x="2706266" y="-334"/>
                  <a:pt x="2993316" y="59239"/>
                  <a:pt x="3110147" y="0"/>
                </a:cubicBezTo>
                <a:cubicBezTo>
                  <a:pt x="3139116" y="164965"/>
                  <a:pt x="3108189" y="233749"/>
                  <a:pt x="3110147" y="453252"/>
                </a:cubicBezTo>
                <a:cubicBezTo>
                  <a:pt x="3112105" y="672755"/>
                  <a:pt x="3108390" y="677524"/>
                  <a:pt x="3110147" y="892039"/>
                </a:cubicBezTo>
                <a:cubicBezTo>
                  <a:pt x="3111904" y="1106554"/>
                  <a:pt x="3098035" y="1249594"/>
                  <a:pt x="3110147" y="1446550"/>
                </a:cubicBezTo>
                <a:cubicBezTo>
                  <a:pt x="2992656" y="1457398"/>
                  <a:pt x="2746994" y="1396065"/>
                  <a:pt x="2653992" y="1446550"/>
                </a:cubicBezTo>
                <a:cubicBezTo>
                  <a:pt x="2560991" y="1497035"/>
                  <a:pt x="2235572" y="1400765"/>
                  <a:pt x="2104533" y="1446550"/>
                </a:cubicBezTo>
                <a:cubicBezTo>
                  <a:pt x="1973494" y="1492335"/>
                  <a:pt x="1740034" y="1410701"/>
                  <a:pt x="1586175" y="1446550"/>
                </a:cubicBezTo>
                <a:cubicBezTo>
                  <a:pt x="1432316" y="1482399"/>
                  <a:pt x="1229136" y="1411814"/>
                  <a:pt x="1005614" y="1446550"/>
                </a:cubicBezTo>
                <a:cubicBezTo>
                  <a:pt x="782092" y="1481286"/>
                  <a:pt x="655573" y="1420971"/>
                  <a:pt x="549459" y="1446550"/>
                </a:cubicBezTo>
                <a:cubicBezTo>
                  <a:pt x="443346" y="1472129"/>
                  <a:pt x="260361" y="1404678"/>
                  <a:pt x="0" y="1446550"/>
                </a:cubicBezTo>
                <a:cubicBezTo>
                  <a:pt x="-3178" y="1355851"/>
                  <a:pt x="346" y="1204328"/>
                  <a:pt x="0" y="993298"/>
                </a:cubicBezTo>
                <a:cubicBezTo>
                  <a:pt x="-346" y="782268"/>
                  <a:pt x="28798" y="747104"/>
                  <a:pt x="0" y="525580"/>
                </a:cubicBezTo>
                <a:cubicBezTo>
                  <a:pt x="-28798" y="304056"/>
                  <a:pt x="41711" y="138920"/>
                  <a:pt x="0" y="0"/>
                </a:cubicBezTo>
                <a:close/>
              </a:path>
            </a:pathLst>
          </a:custGeom>
          <a:noFill/>
          <a:ln w="28575">
            <a:solidFill>
              <a:schemeClr val="accent4">
                <a:lumMod val="75000"/>
              </a:schemeClr>
            </a:solidFill>
            <a:extLst>
              <a:ext uri="{C807C97D-BFC1-408E-A445-0C87EB9F89A2}">
                <ask:lineSketchStyleProps xmlns:ask="http://schemas.microsoft.com/office/drawing/2018/sketchyshapes" sd="128979711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pPr algn="ctr"/>
            <a:r>
              <a:rPr lang="en-GB" sz="2200" b="1" dirty="0">
                <a:latin typeface="Trebuchet MS" panose="020B0603020202020204" pitchFamily="34" charset="0"/>
              </a:rPr>
              <a:t>Case studies</a:t>
            </a:r>
          </a:p>
          <a:p>
            <a:r>
              <a:rPr lang="en-GB" sz="2200" dirty="0">
                <a:latin typeface="Trebuchet MS" panose="020B0603020202020204" pitchFamily="34" charset="0"/>
              </a:rPr>
              <a:t>Hydrological modelling</a:t>
            </a:r>
          </a:p>
          <a:p>
            <a:r>
              <a:rPr lang="en-GB" sz="2200" dirty="0">
                <a:latin typeface="Trebuchet MS" panose="020B0603020202020204" pitchFamily="34" charset="0"/>
              </a:rPr>
              <a:t>Flood event studies</a:t>
            </a:r>
          </a:p>
          <a:p>
            <a:r>
              <a:rPr lang="en-GB" sz="2200" dirty="0">
                <a:latin typeface="Trebuchet MS" panose="020B0603020202020204" pitchFamily="34" charset="0"/>
              </a:rPr>
              <a:t>Large sample extremes</a:t>
            </a: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B9C82031-F52A-3D15-EE75-1A5DA3622B9B}"/>
              </a:ext>
            </a:extLst>
          </p:cNvPr>
          <p:cNvSpPr/>
          <p:nvPr/>
        </p:nvSpPr>
        <p:spPr>
          <a:xfrm>
            <a:off x="944818" y="3788650"/>
            <a:ext cx="1090432" cy="886167"/>
          </a:xfrm>
          <a:prstGeom prst="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579617E-1E28-B771-E2AA-4E161CB3BA8B}"/>
              </a:ext>
            </a:extLst>
          </p:cNvPr>
          <p:cNvSpPr txBox="1"/>
          <p:nvPr/>
        </p:nvSpPr>
        <p:spPr>
          <a:xfrm>
            <a:off x="2149455" y="3959332"/>
            <a:ext cx="111120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200" dirty="0">
                <a:latin typeface="Trebuchet MS" panose="020B0603020202020204" pitchFamily="34" charset="0"/>
              </a:rPr>
              <a:t>Used in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516A0FED-A4C6-B682-5703-24BD576B0FA2}"/>
              </a:ext>
            </a:extLst>
          </p:cNvPr>
          <p:cNvSpPr/>
          <p:nvPr/>
        </p:nvSpPr>
        <p:spPr>
          <a:xfrm>
            <a:off x="5370512" y="1763076"/>
            <a:ext cx="1059542" cy="99835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94A32BC-D5C7-7B2F-685D-66C9FFA14C12}"/>
              </a:ext>
            </a:extLst>
          </p:cNvPr>
          <p:cNvSpPr txBox="1"/>
          <p:nvPr/>
        </p:nvSpPr>
        <p:spPr>
          <a:xfrm>
            <a:off x="5218105" y="2790063"/>
            <a:ext cx="163263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200" dirty="0">
                <a:latin typeface="Trebuchet MS" panose="020B0603020202020204" pitchFamily="34" charset="0"/>
              </a:rPr>
              <a:t>Before us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3FE251C-AECA-F9EB-B215-59D81CBA72C7}"/>
              </a:ext>
            </a:extLst>
          </p:cNvPr>
          <p:cNvSpPr txBox="1"/>
          <p:nvPr/>
        </p:nvSpPr>
        <p:spPr>
          <a:xfrm>
            <a:off x="5218105" y="4343353"/>
            <a:ext cx="6588991" cy="1107996"/>
          </a:xfrm>
          <a:custGeom>
            <a:avLst/>
            <a:gdLst>
              <a:gd name="connsiteX0" fmla="*/ 0 w 6588991"/>
              <a:gd name="connsiteY0" fmla="*/ 0 h 1107996"/>
              <a:gd name="connsiteX1" fmla="*/ 533109 w 6588991"/>
              <a:gd name="connsiteY1" fmla="*/ 0 h 1107996"/>
              <a:gd name="connsiteX2" fmla="*/ 1263888 w 6588991"/>
              <a:gd name="connsiteY2" fmla="*/ 0 h 1107996"/>
              <a:gd name="connsiteX3" fmla="*/ 1994667 w 6588991"/>
              <a:gd name="connsiteY3" fmla="*/ 0 h 1107996"/>
              <a:gd name="connsiteX4" fmla="*/ 2725446 w 6588991"/>
              <a:gd name="connsiteY4" fmla="*/ 0 h 1107996"/>
              <a:gd name="connsiteX5" fmla="*/ 3456225 w 6588991"/>
              <a:gd name="connsiteY5" fmla="*/ 0 h 1107996"/>
              <a:gd name="connsiteX6" fmla="*/ 3923445 w 6588991"/>
              <a:gd name="connsiteY6" fmla="*/ 0 h 1107996"/>
              <a:gd name="connsiteX7" fmla="*/ 4390664 w 6588991"/>
              <a:gd name="connsiteY7" fmla="*/ 0 h 1107996"/>
              <a:gd name="connsiteX8" fmla="*/ 4923773 w 6588991"/>
              <a:gd name="connsiteY8" fmla="*/ 0 h 1107996"/>
              <a:gd name="connsiteX9" fmla="*/ 5588662 w 6588991"/>
              <a:gd name="connsiteY9" fmla="*/ 0 h 1107996"/>
              <a:gd name="connsiteX10" fmla="*/ 6055882 w 6588991"/>
              <a:gd name="connsiteY10" fmla="*/ 0 h 1107996"/>
              <a:gd name="connsiteX11" fmla="*/ 6588991 w 6588991"/>
              <a:gd name="connsiteY11" fmla="*/ 0 h 1107996"/>
              <a:gd name="connsiteX12" fmla="*/ 6588991 w 6588991"/>
              <a:gd name="connsiteY12" fmla="*/ 553998 h 1107996"/>
              <a:gd name="connsiteX13" fmla="*/ 6588991 w 6588991"/>
              <a:gd name="connsiteY13" fmla="*/ 1107996 h 1107996"/>
              <a:gd name="connsiteX14" fmla="*/ 5924102 w 6588991"/>
              <a:gd name="connsiteY14" fmla="*/ 1107996 h 1107996"/>
              <a:gd name="connsiteX15" fmla="*/ 5522772 w 6588991"/>
              <a:gd name="connsiteY15" fmla="*/ 1107996 h 1107996"/>
              <a:gd name="connsiteX16" fmla="*/ 5121443 w 6588991"/>
              <a:gd name="connsiteY16" fmla="*/ 1107996 h 1107996"/>
              <a:gd name="connsiteX17" fmla="*/ 4720114 w 6588991"/>
              <a:gd name="connsiteY17" fmla="*/ 1107996 h 1107996"/>
              <a:gd name="connsiteX18" fmla="*/ 4055224 w 6588991"/>
              <a:gd name="connsiteY18" fmla="*/ 1107996 h 1107996"/>
              <a:gd name="connsiteX19" fmla="*/ 3653895 w 6588991"/>
              <a:gd name="connsiteY19" fmla="*/ 1107996 h 1107996"/>
              <a:gd name="connsiteX20" fmla="*/ 2923116 w 6588991"/>
              <a:gd name="connsiteY20" fmla="*/ 1107996 h 1107996"/>
              <a:gd name="connsiteX21" fmla="*/ 2192337 w 6588991"/>
              <a:gd name="connsiteY21" fmla="*/ 1107996 h 1107996"/>
              <a:gd name="connsiteX22" fmla="*/ 1791008 w 6588991"/>
              <a:gd name="connsiteY22" fmla="*/ 1107996 h 1107996"/>
              <a:gd name="connsiteX23" fmla="*/ 1060229 w 6588991"/>
              <a:gd name="connsiteY23" fmla="*/ 1107996 h 1107996"/>
              <a:gd name="connsiteX24" fmla="*/ 0 w 6588991"/>
              <a:gd name="connsiteY24" fmla="*/ 1107996 h 1107996"/>
              <a:gd name="connsiteX25" fmla="*/ 0 w 6588991"/>
              <a:gd name="connsiteY25" fmla="*/ 576158 h 1107996"/>
              <a:gd name="connsiteX26" fmla="*/ 0 w 6588991"/>
              <a:gd name="connsiteY26" fmla="*/ 0 h 110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588991" h="1107996" extrusionOk="0">
                <a:moveTo>
                  <a:pt x="0" y="0"/>
                </a:moveTo>
                <a:cubicBezTo>
                  <a:pt x="153403" y="-48089"/>
                  <a:pt x="272926" y="9435"/>
                  <a:pt x="533109" y="0"/>
                </a:cubicBezTo>
                <a:cubicBezTo>
                  <a:pt x="793292" y="-9435"/>
                  <a:pt x="913580" y="27592"/>
                  <a:pt x="1263888" y="0"/>
                </a:cubicBezTo>
                <a:cubicBezTo>
                  <a:pt x="1614196" y="-27592"/>
                  <a:pt x="1655179" y="41662"/>
                  <a:pt x="1994667" y="0"/>
                </a:cubicBezTo>
                <a:cubicBezTo>
                  <a:pt x="2334155" y="-41662"/>
                  <a:pt x="2525817" y="66199"/>
                  <a:pt x="2725446" y="0"/>
                </a:cubicBezTo>
                <a:cubicBezTo>
                  <a:pt x="2925075" y="-66199"/>
                  <a:pt x="3256814" y="28"/>
                  <a:pt x="3456225" y="0"/>
                </a:cubicBezTo>
                <a:cubicBezTo>
                  <a:pt x="3655636" y="-28"/>
                  <a:pt x="3719407" y="31844"/>
                  <a:pt x="3923445" y="0"/>
                </a:cubicBezTo>
                <a:cubicBezTo>
                  <a:pt x="4127483" y="-31844"/>
                  <a:pt x="4288034" y="33730"/>
                  <a:pt x="4390664" y="0"/>
                </a:cubicBezTo>
                <a:cubicBezTo>
                  <a:pt x="4493294" y="-33730"/>
                  <a:pt x="4714029" y="62071"/>
                  <a:pt x="4923773" y="0"/>
                </a:cubicBezTo>
                <a:cubicBezTo>
                  <a:pt x="5133517" y="-62071"/>
                  <a:pt x="5383937" y="24423"/>
                  <a:pt x="5588662" y="0"/>
                </a:cubicBezTo>
                <a:cubicBezTo>
                  <a:pt x="5793387" y="-24423"/>
                  <a:pt x="5858508" y="41741"/>
                  <a:pt x="6055882" y="0"/>
                </a:cubicBezTo>
                <a:cubicBezTo>
                  <a:pt x="6253256" y="-41741"/>
                  <a:pt x="6464168" y="38786"/>
                  <a:pt x="6588991" y="0"/>
                </a:cubicBezTo>
                <a:cubicBezTo>
                  <a:pt x="6618268" y="215570"/>
                  <a:pt x="6556872" y="441836"/>
                  <a:pt x="6588991" y="553998"/>
                </a:cubicBezTo>
                <a:cubicBezTo>
                  <a:pt x="6621110" y="666160"/>
                  <a:pt x="6587282" y="866298"/>
                  <a:pt x="6588991" y="1107996"/>
                </a:cubicBezTo>
                <a:cubicBezTo>
                  <a:pt x="6354648" y="1151820"/>
                  <a:pt x="6238385" y="1081094"/>
                  <a:pt x="5924102" y="1107996"/>
                </a:cubicBezTo>
                <a:cubicBezTo>
                  <a:pt x="5609819" y="1134898"/>
                  <a:pt x="5667782" y="1094327"/>
                  <a:pt x="5522772" y="1107996"/>
                </a:cubicBezTo>
                <a:cubicBezTo>
                  <a:pt x="5377762" y="1121665"/>
                  <a:pt x="5285863" y="1102501"/>
                  <a:pt x="5121443" y="1107996"/>
                </a:cubicBezTo>
                <a:cubicBezTo>
                  <a:pt x="4957023" y="1113491"/>
                  <a:pt x="4853000" y="1095751"/>
                  <a:pt x="4720114" y="1107996"/>
                </a:cubicBezTo>
                <a:cubicBezTo>
                  <a:pt x="4587228" y="1120241"/>
                  <a:pt x="4295022" y="1062485"/>
                  <a:pt x="4055224" y="1107996"/>
                </a:cubicBezTo>
                <a:cubicBezTo>
                  <a:pt x="3815426" y="1153507"/>
                  <a:pt x="3782538" y="1088810"/>
                  <a:pt x="3653895" y="1107996"/>
                </a:cubicBezTo>
                <a:cubicBezTo>
                  <a:pt x="3525252" y="1127182"/>
                  <a:pt x="3219332" y="1040151"/>
                  <a:pt x="2923116" y="1107996"/>
                </a:cubicBezTo>
                <a:cubicBezTo>
                  <a:pt x="2626900" y="1175841"/>
                  <a:pt x="2367473" y="1046621"/>
                  <a:pt x="2192337" y="1107996"/>
                </a:cubicBezTo>
                <a:cubicBezTo>
                  <a:pt x="2017201" y="1169371"/>
                  <a:pt x="1984092" y="1102942"/>
                  <a:pt x="1791008" y="1107996"/>
                </a:cubicBezTo>
                <a:cubicBezTo>
                  <a:pt x="1597924" y="1113050"/>
                  <a:pt x="1346457" y="1030452"/>
                  <a:pt x="1060229" y="1107996"/>
                </a:cubicBezTo>
                <a:cubicBezTo>
                  <a:pt x="774001" y="1185540"/>
                  <a:pt x="471238" y="986557"/>
                  <a:pt x="0" y="1107996"/>
                </a:cubicBezTo>
                <a:cubicBezTo>
                  <a:pt x="-24790" y="857716"/>
                  <a:pt x="49321" y="740181"/>
                  <a:pt x="0" y="576158"/>
                </a:cubicBezTo>
                <a:cubicBezTo>
                  <a:pt x="-49321" y="412135"/>
                  <a:pt x="11089" y="200366"/>
                  <a:pt x="0" y="0"/>
                </a:cubicBezTo>
                <a:close/>
              </a:path>
            </a:pathLst>
          </a:custGeom>
          <a:noFill/>
          <a:ln w="28575">
            <a:solidFill>
              <a:schemeClr val="accent4">
                <a:lumMod val="25000"/>
              </a:schemeClr>
            </a:solidFill>
            <a:extLst>
              <a:ext uri="{C807C97D-BFC1-408E-A445-0C87EB9F89A2}">
                <ask:lineSketchStyleProps xmlns:ask="http://schemas.microsoft.com/office/drawing/2018/sketchyshapes" sd="2173177848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>
            <a:spAutoFit/>
          </a:bodyPr>
          <a:lstStyle/>
          <a:p>
            <a:pPr algn="ctr"/>
            <a:r>
              <a:rPr lang="en-GB" sz="2200" b="1" dirty="0">
                <a:latin typeface="Trebuchet MS" panose="020B0603020202020204" pitchFamily="34" charset="0"/>
              </a:rPr>
              <a:t>2) Clean the data</a:t>
            </a:r>
          </a:p>
          <a:p>
            <a:pPr algn="ctr"/>
            <a:r>
              <a:rPr lang="en-GB" sz="2200" dirty="0">
                <a:latin typeface="Trebuchet MS" panose="020B0603020202020204" pitchFamily="34" charset="0"/>
              </a:rPr>
              <a:t>Use metadata to identify and exclude unsuitable data for your specific analysis</a:t>
            </a: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E953FAB-B419-6197-F0F4-4407D3315CBD}"/>
              </a:ext>
            </a:extLst>
          </p:cNvPr>
          <p:cNvSpPr/>
          <p:nvPr/>
        </p:nvSpPr>
        <p:spPr>
          <a:xfrm>
            <a:off x="8761554" y="3782620"/>
            <a:ext cx="800683" cy="494209"/>
          </a:xfrm>
          <a:prstGeom prst="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15ABD97-0B22-B759-E622-0F19CE64BA5D}"/>
              </a:ext>
            </a:extLst>
          </p:cNvPr>
          <p:cNvSpPr txBox="1"/>
          <p:nvPr/>
        </p:nvSpPr>
        <p:spPr>
          <a:xfrm>
            <a:off x="7598818" y="6231600"/>
            <a:ext cx="2946640" cy="461665"/>
          </a:xfrm>
          <a:custGeom>
            <a:avLst/>
            <a:gdLst>
              <a:gd name="connsiteX0" fmla="*/ 0 w 2946640"/>
              <a:gd name="connsiteY0" fmla="*/ 0 h 461665"/>
              <a:gd name="connsiteX1" fmla="*/ 648261 w 2946640"/>
              <a:gd name="connsiteY1" fmla="*/ 0 h 461665"/>
              <a:gd name="connsiteX2" fmla="*/ 1296522 w 2946640"/>
              <a:gd name="connsiteY2" fmla="*/ 0 h 461665"/>
              <a:gd name="connsiteX3" fmla="*/ 1856383 w 2946640"/>
              <a:gd name="connsiteY3" fmla="*/ 0 h 461665"/>
              <a:gd name="connsiteX4" fmla="*/ 2946640 w 2946640"/>
              <a:gd name="connsiteY4" fmla="*/ 0 h 461665"/>
              <a:gd name="connsiteX5" fmla="*/ 2946640 w 2946640"/>
              <a:gd name="connsiteY5" fmla="*/ 461665 h 461665"/>
              <a:gd name="connsiteX6" fmla="*/ 2445711 w 2946640"/>
              <a:gd name="connsiteY6" fmla="*/ 461665 h 461665"/>
              <a:gd name="connsiteX7" fmla="*/ 1826917 w 2946640"/>
              <a:gd name="connsiteY7" fmla="*/ 461665 h 461665"/>
              <a:gd name="connsiteX8" fmla="*/ 1296522 w 2946640"/>
              <a:gd name="connsiteY8" fmla="*/ 461665 h 461665"/>
              <a:gd name="connsiteX9" fmla="*/ 648261 w 2946640"/>
              <a:gd name="connsiteY9" fmla="*/ 461665 h 461665"/>
              <a:gd name="connsiteX10" fmla="*/ 0 w 2946640"/>
              <a:gd name="connsiteY10" fmla="*/ 461665 h 461665"/>
              <a:gd name="connsiteX11" fmla="*/ 0 w 2946640"/>
              <a:gd name="connsiteY11" fmla="*/ 0 h 461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946640" h="461665" extrusionOk="0">
                <a:moveTo>
                  <a:pt x="0" y="0"/>
                </a:moveTo>
                <a:cubicBezTo>
                  <a:pt x="294062" y="-52843"/>
                  <a:pt x="490222" y="71428"/>
                  <a:pt x="648261" y="0"/>
                </a:cubicBezTo>
                <a:cubicBezTo>
                  <a:pt x="806300" y="-71428"/>
                  <a:pt x="992175" y="49924"/>
                  <a:pt x="1296522" y="0"/>
                </a:cubicBezTo>
                <a:cubicBezTo>
                  <a:pt x="1600869" y="-49924"/>
                  <a:pt x="1594602" y="52157"/>
                  <a:pt x="1856383" y="0"/>
                </a:cubicBezTo>
                <a:cubicBezTo>
                  <a:pt x="2118164" y="-52157"/>
                  <a:pt x="2556479" y="9843"/>
                  <a:pt x="2946640" y="0"/>
                </a:cubicBezTo>
                <a:cubicBezTo>
                  <a:pt x="2964086" y="171969"/>
                  <a:pt x="2899148" y="355963"/>
                  <a:pt x="2946640" y="461665"/>
                </a:cubicBezTo>
                <a:cubicBezTo>
                  <a:pt x="2779536" y="499602"/>
                  <a:pt x="2577037" y="422334"/>
                  <a:pt x="2445711" y="461665"/>
                </a:cubicBezTo>
                <a:cubicBezTo>
                  <a:pt x="2314385" y="500996"/>
                  <a:pt x="2133481" y="422293"/>
                  <a:pt x="1826917" y="461665"/>
                </a:cubicBezTo>
                <a:cubicBezTo>
                  <a:pt x="1520353" y="501037"/>
                  <a:pt x="1459252" y="416123"/>
                  <a:pt x="1296522" y="461665"/>
                </a:cubicBezTo>
                <a:cubicBezTo>
                  <a:pt x="1133792" y="507207"/>
                  <a:pt x="786767" y="430515"/>
                  <a:pt x="648261" y="461665"/>
                </a:cubicBezTo>
                <a:cubicBezTo>
                  <a:pt x="509755" y="492815"/>
                  <a:pt x="262453" y="441200"/>
                  <a:pt x="0" y="461665"/>
                </a:cubicBezTo>
                <a:cubicBezTo>
                  <a:pt x="-40782" y="269575"/>
                  <a:pt x="41165" y="198556"/>
                  <a:pt x="0" y="0"/>
                </a:cubicBezTo>
                <a:close/>
              </a:path>
            </a:pathLst>
          </a:custGeom>
          <a:noFill/>
          <a:ln w="28575">
            <a:solidFill>
              <a:schemeClr val="accent4">
                <a:lumMod val="10000"/>
              </a:schemeClr>
            </a:solidFill>
            <a:extLst>
              <a:ext uri="{C807C97D-BFC1-408E-A445-0C87EB9F89A2}">
                <ask:lineSketchStyleProps xmlns:ask="http://schemas.microsoft.com/office/drawing/2018/sketchyshapes" sd="298846686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GB" sz="2400" b="1" dirty="0">
                <a:latin typeface="Trebuchet MS" panose="020B0603020202020204" pitchFamily="34" charset="0"/>
              </a:rPr>
              <a:t>Data ready for use!</a:t>
            </a:r>
          </a:p>
        </p:txBody>
      </p:sp>
      <p:sp>
        <p:nvSpPr>
          <p:cNvPr id="29" name="Arrow: Down 28">
            <a:extLst>
              <a:ext uri="{FF2B5EF4-FFF2-40B4-BE49-F238E27FC236}">
                <a16:creationId xmlns:a16="http://schemas.microsoft.com/office/drawing/2014/main" id="{6A038CF5-34AB-1112-3A42-FFEC7E10A3CA}"/>
              </a:ext>
            </a:extLst>
          </p:cNvPr>
          <p:cNvSpPr/>
          <p:nvPr/>
        </p:nvSpPr>
        <p:spPr>
          <a:xfrm>
            <a:off x="8755955" y="5594370"/>
            <a:ext cx="800683" cy="494209"/>
          </a:xfrm>
          <a:prstGeom prst="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30" name="Picture 29" descr="A blue and white logo&#10;&#10;AI-generated content may be incorrect.">
            <a:extLst>
              <a:ext uri="{FF2B5EF4-FFF2-40B4-BE49-F238E27FC236}">
                <a16:creationId xmlns:a16="http://schemas.microsoft.com/office/drawing/2014/main" id="{6FCEDF5C-5CEC-F699-51B3-DDE6A42FD44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1223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BEDDCE-E97D-8327-9378-8FC6201E39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A9C8426-B878-CC13-20C9-A40AF488F7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760" y="1172910"/>
            <a:ext cx="5567927" cy="2520000"/>
          </a:xfrm>
          <a:solidFill>
            <a:schemeClr val="bg2"/>
          </a:solidFill>
        </p:spPr>
        <p:txBody>
          <a:bodyPr/>
          <a:lstStyle/>
          <a:p>
            <a:pPr lvl="3"/>
            <a:r>
              <a:rPr lang="en-US" b="1" dirty="0">
                <a:latin typeface="+mj-lt"/>
                <a:hlinkClick r:id="rId2" action="ppaction://hlinksldjump"/>
              </a:rPr>
              <a:t>Build it</a:t>
            </a:r>
          </a:p>
          <a:p>
            <a:r>
              <a:rPr lang="en-GB" dirty="0">
                <a:latin typeface="+mj-lt"/>
                <a:hlinkClick r:id="rId2" action="ppaction://hlinksldjump"/>
              </a:rPr>
              <a:t>I’m Interested in producing high-resolution flow datasets.</a:t>
            </a:r>
            <a:endParaRPr lang="en-US" dirty="0">
              <a:latin typeface="+mj-lt"/>
              <a:hlinkClick r:id="rId2" action="ppaction://hlinksldjump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05549B1-0BBF-D734-5B04-624E63AA9F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60" y="500354"/>
            <a:ext cx="7775729" cy="465103"/>
          </a:xfrm>
        </p:spPr>
        <p:txBody>
          <a:bodyPr/>
          <a:lstStyle/>
          <a:p>
            <a:r>
              <a:rPr lang="en-US" dirty="0">
                <a:latin typeface="+mj-lt"/>
              </a:rPr>
              <a:t>Why Visit UK-Flow15?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7D03FA5-4FFB-9776-48DE-484EB2C39B62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190687" y="1172910"/>
            <a:ext cx="5567927" cy="2520000"/>
          </a:xfrm>
        </p:spPr>
        <p:txBody>
          <a:bodyPr/>
          <a:lstStyle/>
          <a:p>
            <a:pPr lvl="3"/>
            <a:r>
              <a:rPr lang="en-US" b="1" dirty="0">
                <a:latin typeface="+mj-lt"/>
                <a:hlinkClick r:id="rId3" action="ppaction://hlinksldjump"/>
              </a:rPr>
              <a:t>Use it</a:t>
            </a:r>
          </a:p>
          <a:p>
            <a:r>
              <a:rPr lang="en-GB" dirty="0">
                <a:latin typeface="+mj-lt"/>
                <a:hlinkClick r:id="rId3" action="ppaction://hlinksldjump"/>
              </a:rPr>
              <a:t>I Want to use 15-min flows for scientific outputs.</a:t>
            </a:r>
            <a:endParaRPr lang="en-US" dirty="0">
              <a:latin typeface="+mj-lt"/>
              <a:hlinkClick r:id="rId3" action="ppaction://hlinksldjump"/>
            </a:endParaRP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F1BA0F62-8F3B-D391-4F81-00C0DB89C93E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42760" y="3872910"/>
            <a:ext cx="5567927" cy="2520000"/>
          </a:xfrm>
        </p:spPr>
        <p:txBody>
          <a:bodyPr/>
          <a:lstStyle/>
          <a:p>
            <a:pPr lvl="3"/>
            <a:r>
              <a:rPr lang="en-US" b="1" dirty="0">
                <a:latin typeface="+mj-lt"/>
                <a:hlinkClick r:id="rId4" action="ppaction://hlinksldjump"/>
              </a:rPr>
              <a:t>Apply it</a:t>
            </a:r>
          </a:p>
          <a:p>
            <a:r>
              <a:rPr lang="en-GB" dirty="0">
                <a:latin typeface="+mj-lt"/>
                <a:hlinkClick r:id="rId4" action="ppaction://hlinksldjump"/>
              </a:rPr>
              <a:t>I’m Curious how it informs policy and decisions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85614A8-8B3B-82AA-9A17-16FE9C403CB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190687" y="3872910"/>
            <a:ext cx="5567927" cy="2520000"/>
          </a:xfrm>
        </p:spPr>
        <p:txBody>
          <a:bodyPr/>
          <a:lstStyle/>
          <a:p>
            <a:pPr lvl="3"/>
            <a:r>
              <a:rPr lang="en-US" b="1" dirty="0">
                <a:latin typeface="+mj-lt"/>
                <a:hlinkClick r:id="rId5" action="ppaction://hlinksldjump"/>
              </a:rPr>
              <a:t>Explore it</a:t>
            </a:r>
          </a:p>
          <a:p>
            <a:r>
              <a:rPr lang="en-GB" dirty="0">
                <a:latin typeface="+mj-lt"/>
                <a:hlinkClick r:id="rId5" action="ppaction://hlinksldjump"/>
              </a:rPr>
              <a:t>This presentation just caught my attention, and I want to know more about it.</a:t>
            </a:r>
            <a:endParaRPr lang="en-US" dirty="0">
              <a:latin typeface="+mj-lt"/>
              <a:hlinkClick r:id="rId5" action="ppaction://hlinksldjump"/>
            </a:endParaRPr>
          </a:p>
        </p:txBody>
      </p:sp>
      <p:sp>
        <p:nvSpPr>
          <p:cNvPr id="25" name="Rectangle: Rounded Corners 24">
            <a:hlinkClick r:id="rId6" action="ppaction://hlinksldjump"/>
            <a:extLst>
              <a:ext uri="{FF2B5EF4-FFF2-40B4-BE49-F238E27FC236}">
                <a16:creationId xmlns:a16="http://schemas.microsoft.com/office/drawing/2014/main" id="{51D21CC8-82FD-1347-3F01-3D3BC6238662}"/>
              </a:ext>
            </a:extLst>
          </p:cNvPr>
          <p:cNvSpPr/>
          <p:nvPr/>
        </p:nvSpPr>
        <p:spPr>
          <a:xfrm>
            <a:off x="3367315" y="11326"/>
            <a:ext cx="3445442" cy="465103"/>
          </a:xfrm>
          <a:prstGeom prst="roundRect">
            <a:avLst/>
          </a:prstGeom>
          <a:solidFill>
            <a:srgbClr val="D6EAE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+mj-lt"/>
              </a:rPr>
              <a:t>Title slide + QR abstract</a:t>
            </a:r>
          </a:p>
        </p:txBody>
      </p:sp>
      <p:sp>
        <p:nvSpPr>
          <p:cNvPr id="28" name="Footer Placeholder 53">
            <a:extLst>
              <a:ext uri="{FF2B5EF4-FFF2-40B4-BE49-F238E27FC236}">
                <a16:creationId xmlns:a16="http://schemas.microsoft.com/office/drawing/2014/main" id="{133C3EAC-4006-C423-F764-B30B204831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537959" y="110109"/>
            <a:ext cx="3445443" cy="274076"/>
          </a:xfrm>
        </p:spPr>
        <p:txBody>
          <a:bodyPr/>
          <a:lstStyle/>
          <a:p>
            <a:r>
              <a:rPr lang="en-GB" dirty="0"/>
              <a:t>EGU2026 – HS 2.2.6 - LSH</a:t>
            </a:r>
          </a:p>
        </p:txBody>
      </p:sp>
      <p:pic>
        <p:nvPicPr>
          <p:cNvPr id="5" name="Picture 4" descr="A blue and white logo&#10;&#10;AI-generated content may be incorrect.">
            <a:extLst>
              <a:ext uri="{FF2B5EF4-FFF2-40B4-BE49-F238E27FC236}">
                <a16:creationId xmlns:a16="http://schemas.microsoft.com/office/drawing/2014/main" id="{C43E4661-DDB7-FE87-6F62-396EB43657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8527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DFF965-04FA-C135-1701-964867421A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DB2D2B0-C1E3-38B0-9BED-2198483BAE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7915072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Summary on the applicability of the dataset</a:t>
            </a:r>
            <a:endParaRPr lang="en-US" dirty="0">
              <a:latin typeface="Trebuchet MS" panose="020B0603020202020204" pitchFamily="34" charset="0"/>
            </a:endParaRPr>
          </a:p>
        </p:txBody>
      </p:sp>
      <p:sp>
        <p:nvSpPr>
          <p:cNvPr id="10" name="Rectangle: Rounded Corners 9">
            <a:hlinkClick r:id="rId2" action="ppaction://hlinksldjump"/>
            <a:extLst>
              <a:ext uri="{FF2B5EF4-FFF2-40B4-BE49-F238E27FC236}">
                <a16:creationId xmlns:a16="http://schemas.microsoft.com/office/drawing/2014/main" id="{68D71BEE-90E9-93E3-C30F-5FDEA226EE6A}"/>
              </a:ext>
            </a:extLst>
          </p:cNvPr>
          <p:cNvSpPr/>
          <p:nvPr/>
        </p:nvSpPr>
        <p:spPr>
          <a:xfrm>
            <a:off x="8653895" y="625683"/>
            <a:ext cx="1433513" cy="465103"/>
          </a:xfrm>
          <a:prstGeom prst="round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Apply it</a:t>
            </a:r>
          </a:p>
        </p:txBody>
      </p:sp>
      <p:sp>
        <p:nvSpPr>
          <p:cNvPr id="19" name="Footer Placeholder 53">
            <a:extLst>
              <a:ext uri="{FF2B5EF4-FFF2-40B4-BE49-F238E27FC236}">
                <a16:creationId xmlns:a16="http://schemas.microsoft.com/office/drawing/2014/main" id="{EB5556F2-736C-898F-62D6-F77E216D68F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20" name="Rectangle: Rounded Corners 19">
            <a:hlinkClick r:id="rId3" action="ppaction://hlinksldjump"/>
            <a:extLst>
              <a:ext uri="{FF2B5EF4-FFF2-40B4-BE49-F238E27FC236}">
                <a16:creationId xmlns:a16="http://schemas.microsoft.com/office/drawing/2014/main" id="{DC7B2E05-849E-A4E3-F317-31D1129587AA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21" name="Rectangle: Rounded Corners 20">
            <a:hlinkClick r:id="rId4" action="ppaction://hlinksldjump"/>
            <a:extLst>
              <a:ext uri="{FF2B5EF4-FFF2-40B4-BE49-F238E27FC236}">
                <a16:creationId xmlns:a16="http://schemas.microsoft.com/office/drawing/2014/main" id="{4DA29480-8880-3ED0-E3AC-E5A2E24D73A8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3EF553-2D93-0A90-8124-30A8BDF9A187}"/>
              </a:ext>
            </a:extLst>
          </p:cNvPr>
          <p:cNvSpPr txBox="1"/>
          <p:nvPr/>
        </p:nvSpPr>
        <p:spPr>
          <a:xfrm>
            <a:off x="315563" y="1698047"/>
            <a:ext cx="4480269" cy="4832092"/>
          </a:xfrm>
          <a:custGeom>
            <a:avLst/>
            <a:gdLst>
              <a:gd name="connsiteX0" fmla="*/ 0 w 4480269"/>
              <a:gd name="connsiteY0" fmla="*/ 0 h 4832092"/>
              <a:gd name="connsiteX1" fmla="*/ 515231 w 4480269"/>
              <a:gd name="connsiteY1" fmla="*/ 0 h 4832092"/>
              <a:gd name="connsiteX2" fmla="*/ 940856 w 4480269"/>
              <a:gd name="connsiteY2" fmla="*/ 0 h 4832092"/>
              <a:gd name="connsiteX3" fmla="*/ 1590495 w 4480269"/>
              <a:gd name="connsiteY3" fmla="*/ 0 h 4832092"/>
              <a:gd name="connsiteX4" fmla="*/ 2105726 w 4480269"/>
              <a:gd name="connsiteY4" fmla="*/ 0 h 4832092"/>
              <a:gd name="connsiteX5" fmla="*/ 2620957 w 4480269"/>
              <a:gd name="connsiteY5" fmla="*/ 0 h 4832092"/>
              <a:gd name="connsiteX6" fmla="*/ 3270596 w 4480269"/>
              <a:gd name="connsiteY6" fmla="*/ 0 h 4832092"/>
              <a:gd name="connsiteX7" fmla="*/ 3741025 w 4480269"/>
              <a:gd name="connsiteY7" fmla="*/ 0 h 4832092"/>
              <a:gd name="connsiteX8" fmla="*/ 4480269 w 4480269"/>
              <a:gd name="connsiteY8" fmla="*/ 0 h 4832092"/>
              <a:gd name="connsiteX9" fmla="*/ 4480269 w 4480269"/>
              <a:gd name="connsiteY9" fmla="*/ 633541 h 4832092"/>
              <a:gd name="connsiteX10" fmla="*/ 4480269 w 4480269"/>
              <a:gd name="connsiteY10" fmla="*/ 1073798 h 4832092"/>
              <a:gd name="connsiteX11" fmla="*/ 4480269 w 4480269"/>
              <a:gd name="connsiteY11" fmla="*/ 1610697 h 4832092"/>
              <a:gd name="connsiteX12" fmla="*/ 4480269 w 4480269"/>
              <a:gd name="connsiteY12" fmla="*/ 2195917 h 4832092"/>
              <a:gd name="connsiteX13" fmla="*/ 4480269 w 4480269"/>
              <a:gd name="connsiteY13" fmla="*/ 2587854 h 4832092"/>
              <a:gd name="connsiteX14" fmla="*/ 4480269 w 4480269"/>
              <a:gd name="connsiteY14" fmla="*/ 3124753 h 4832092"/>
              <a:gd name="connsiteX15" fmla="*/ 4480269 w 4480269"/>
              <a:gd name="connsiteY15" fmla="*/ 3661652 h 4832092"/>
              <a:gd name="connsiteX16" fmla="*/ 4480269 w 4480269"/>
              <a:gd name="connsiteY16" fmla="*/ 4198551 h 4832092"/>
              <a:gd name="connsiteX17" fmla="*/ 4480269 w 4480269"/>
              <a:gd name="connsiteY17" fmla="*/ 4832092 h 4832092"/>
              <a:gd name="connsiteX18" fmla="*/ 3875433 w 4480269"/>
              <a:gd name="connsiteY18" fmla="*/ 4832092 h 4832092"/>
              <a:gd name="connsiteX19" fmla="*/ 3449807 w 4480269"/>
              <a:gd name="connsiteY19" fmla="*/ 4832092 h 4832092"/>
              <a:gd name="connsiteX20" fmla="*/ 2979379 w 4480269"/>
              <a:gd name="connsiteY20" fmla="*/ 4832092 h 4832092"/>
              <a:gd name="connsiteX21" fmla="*/ 2329740 w 4480269"/>
              <a:gd name="connsiteY21" fmla="*/ 4832092 h 4832092"/>
              <a:gd name="connsiteX22" fmla="*/ 1769706 w 4480269"/>
              <a:gd name="connsiteY22" fmla="*/ 4832092 h 4832092"/>
              <a:gd name="connsiteX23" fmla="*/ 1299278 w 4480269"/>
              <a:gd name="connsiteY23" fmla="*/ 4832092 h 4832092"/>
              <a:gd name="connsiteX24" fmla="*/ 739244 w 4480269"/>
              <a:gd name="connsiteY24" fmla="*/ 4832092 h 4832092"/>
              <a:gd name="connsiteX25" fmla="*/ 0 w 4480269"/>
              <a:gd name="connsiteY25" fmla="*/ 4832092 h 4832092"/>
              <a:gd name="connsiteX26" fmla="*/ 0 w 4480269"/>
              <a:gd name="connsiteY26" fmla="*/ 4440156 h 4832092"/>
              <a:gd name="connsiteX27" fmla="*/ 0 w 4480269"/>
              <a:gd name="connsiteY27" fmla="*/ 3854936 h 4832092"/>
              <a:gd name="connsiteX28" fmla="*/ 0 w 4480269"/>
              <a:gd name="connsiteY28" fmla="*/ 3414678 h 4832092"/>
              <a:gd name="connsiteX29" fmla="*/ 0 w 4480269"/>
              <a:gd name="connsiteY29" fmla="*/ 2781137 h 4832092"/>
              <a:gd name="connsiteX30" fmla="*/ 0 w 4480269"/>
              <a:gd name="connsiteY30" fmla="*/ 2292559 h 4832092"/>
              <a:gd name="connsiteX31" fmla="*/ 0 w 4480269"/>
              <a:gd name="connsiteY31" fmla="*/ 1900623 h 4832092"/>
              <a:gd name="connsiteX32" fmla="*/ 0 w 4480269"/>
              <a:gd name="connsiteY32" fmla="*/ 1315403 h 4832092"/>
              <a:gd name="connsiteX33" fmla="*/ 0 w 4480269"/>
              <a:gd name="connsiteY33" fmla="*/ 875146 h 4832092"/>
              <a:gd name="connsiteX34" fmla="*/ 0 w 4480269"/>
              <a:gd name="connsiteY34" fmla="*/ 0 h 4832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4480269" h="4832092" extrusionOk="0">
                <a:moveTo>
                  <a:pt x="0" y="0"/>
                </a:moveTo>
                <a:cubicBezTo>
                  <a:pt x="160230" y="-49875"/>
                  <a:pt x="407157" y="58460"/>
                  <a:pt x="515231" y="0"/>
                </a:cubicBezTo>
                <a:cubicBezTo>
                  <a:pt x="623305" y="-58460"/>
                  <a:pt x="823957" y="50774"/>
                  <a:pt x="940856" y="0"/>
                </a:cubicBezTo>
                <a:cubicBezTo>
                  <a:pt x="1057755" y="-50774"/>
                  <a:pt x="1293810" y="24964"/>
                  <a:pt x="1590495" y="0"/>
                </a:cubicBezTo>
                <a:cubicBezTo>
                  <a:pt x="1887180" y="-24964"/>
                  <a:pt x="1882165" y="55445"/>
                  <a:pt x="2105726" y="0"/>
                </a:cubicBezTo>
                <a:cubicBezTo>
                  <a:pt x="2329287" y="-55445"/>
                  <a:pt x="2494889" y="33603"/>
                  <a:pt x="2620957" y="0"/>
                </a:cubicBezTo>
                <a:cubicBezTo>
                  <a:pt x="2747025" y="-33603"/>
                  <a:pt x="2948677" y="47987"/>
                  <a:pt x="3270596" y="0"/>
                </a:cubicBezTo>
                <a:cubicBezTo>
                  <a:pt x="3592515" y="-47987"/>
                  <a:pt x="3627749" y="33692"/>
                  <a:pt x="3741025" y="0"/>
                </a:cubicBezTo>
                <a:cubicBezTo>
                  <a:pt x="3854301" y="-33692"/>
                  <a:pt x="4211940" y="20333"/>
                  <a:pt x="4480269" y="0"/>
                </a:cubicBezTo>
                <a:cubicBezTo>
                  <a:pt x="4511940" y="244154"/>
                  <a:pt x="4429606" y="449529"/>
                  <a:pt x="4480269" y="633541"/>
                </a:cubicBezTo>
                <a:cubicBezTo>
                  <a:pt x="4530932" y="817553"/>
                  <a:pt x="4430922" y="882859"/>
                  <a:pt x="4480269" y="1073798"/>
                </a:cubicBezTo>
                <a:cubicBezTo>
                  <a:pt x="4529616" y="1264737"/>
                  <a:pt x="4468770" y="1430256"/>
                  <a:pt x="4480269" y="1610697"/>
                </a:cubicBezTo>
                <a:cubicBezTo>
                  <a:pt x="4491768" y="1791138"/>
                  <a:pt x="4449929" y="1904170"/>
                  <a:pt x="4480269" y="2195917"/>
                </a:cubicBezTo>
                <a:cubicBezTo>
                  <a:pt x="4510609" y="2487664"/>
                  <a:pt x="4450637" y="2421676"/>
                  <a:pt x="4480269" y="2587854"/>
                </a:cubicBezTo>
                <a:cubicBezTo>
                  <a:pt x="4509901" y="2754032"/>
                  <a:pt x="4419330" y="2965293"/>
                  <a:pt x="4480269" y="3124753"/>
                </a:cubicBezTo>
                <a:cubicBezTo>
                  <a:pt x="4541208" y="3284213"/>
                  <a:pt x="4420206" y="3483874"/>
                  <a:pt x="4480269" y="3661652"/>
                </a:cubicBezTo>
                <a:cubicBezTo>
                  <a:pt x="4540332" y="3839430"/>
                  <a:pt x="4462151" y="3976195"/>
                  <a:pt x="4480269" y="4198551"/>
                </a:cubicBezTo>
                <a:cubicBezTo>
                  <a:pt x="4498387" y="4420907"/>
                  <a:pt x="4418147" y="4602918"/>
                  <a:pt x="4480269" y="4832092"/>
                </a:cubicBezTo>
                <a:cubicBezTo>
                  <a:pt x="4263111" y="4837642"/>
                  <a:pt x="4102333" y="4797115"/>
                  <a:pt x="3875433" y="4832092"/>
                </a:cubicBezTo>
                <a:cubicBezTo>
                  <a:pt x="3648533" y="4867069"/>
                  <a:pt x="3630413" y="4822599"/>
                  <a:pt x="3449807" y="4832092"/>
                </a:cubicBezTo>
                <a:cubicBezTo>
                  <a:pt x="3269201" y="4841585"/>
                  <a:pt x="3204868" y="4799126"/>
                  <a:pt x="2979379" y="4832092"/>
                </a:cubicBezTo>
                <a:cubicBezTo>
                  <a:pt x="2753890" y="4865058"/>
                  <a:pt x="2542625" y="4808298"/>
                  <a:pt x="2329740" y="4832092"/>
                </a:cubicBezTo>
                <a:cubicBezTo>
                  <a:pt x="2116855" y="4855886"/>
                  <a:pt x="2022553" y="4768590"/>
                  <a:pt x="1769706" y="4832092"/>
                </a:cubicBezTo>
                <a:cubicBezTo>
                  <a:pt x="1516859" y="4895594"/>
                  <a:pt x="1419144" y="4791658"/>
                  <a:pt x="1299278" y="4832092"/>
                </a:cubicBezTo>
                <a:cubicBezTo>
                  <a:pt x="1179412" y="4872526"/>
                  <a:pt x="984524" y="4798103"/>
                  <a:pt x="739244" y="4832092"/>
                </a:cubicBezTo>
                <a:cubicBezTo>
                  <a:pt x="493964" y="4866081"/>
                  <a:pt x="211880" y="4809693"/>
                  <a:pt x="0" y="4832092"/>
                </a:cubicBezTo>
                <a:cubicBezTo>
                  <a:pt x="-34610" y="4658978"/>
                  <a:pt x="46539" y="4589232"/>
                  <a:pt x="0" y="4440156"/>
                </a:cubicBezTo>
                <a:cubicBezTo>
                  <a:pt x="-46539" y="4291080"/>
                  <a:pt x="54342" y="4081722"/>
                  <a:pt x="0" y="3854936"/>
                </a:cubicBezTo>
                <a:cubicBezTo>
                  <a:pt x="-54342" y="3628150"/>
                  <a:pt x="106" y="3561223"/>
                  <a:pt x="0" y="3414678"/>
                </a:cubicBezTo>
                <a:cubicBezTo>
                  <a:pt x="-106" y="3268133"/>
                  <a:pt x="60842" y="2977888"/>
                  <a:pt x="0" y="2781137"/>
                </a:cubicBezTo>
                <a:cubicBezTo>
                  <a:pt x="-60842" y="2584386"/>
                  <a:pt x="35407" y="2477720"/>
                  <a:pt x="0" y="2292559"/>
                </a:cubicBezTo>
                <a:cubicBezTo>
                  <a:pt x="-35407" y="2107398"/>
                  <a:pt x="9308" y="2043408"/>
                  <a:pt x="0" y="1900623"/>
                </a:cubicBezTo>
                <a:cubicBezTo>
                  <a:pt x="-9308" y="1757838"/>
                  <a:pt x="35001" y="1510759"/>
                  <a:pt x="0" y="1315403"/>
                </a:cubicBezTo>
                <a:cubicBezTo>
                  <a:pt x="-35001" y="1120047"/>
                  <a:pt x="40697" y="983932"/>
                  <a:pt x="0" y="875146"/>
                </a:cubicBezTo>
                <a:cubicBezTo>
                  <a:pt x="-40697" y="766360"/>
                  <a:pt x="27877" y="251186"/>
                  <a:pt x="0" y="0"/>
                </a:cubicBezTo>
                <a:close/>
              </a:path>
            </a:pathLst>
          </a:custGeom>
          <a:noFill/>
          <a:ln w="28575">
            <a:solidFill>
              <a:schemeClr val="accent5">
                <a:lumMod val="9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200" b="1" dirty="0">
                <a:latin typeface="Trebuchet MS" panose="020B0603020202020204" pitchFamily="34" charset="0"/>
              </a:rPr>
              <a:t>High resolution data improves </a:t>
            </a:r>
          </a:p>
          <a:p>
            <a:pPr algn="ctr"/>
            <a:r>
              <a:rPr lang="en-GB" sz="2200" b="1" dirty="0">
                <a:latin typeface="Trebuchet MS" panose="020B0603020202020204" pitchFamily="34" charset="0"/>
              </a:rPr>
              <a:t> </a:t>
            </a:r>
          </a:p>
          <a:p>
            <a:r>
              <a:rPr lang="en-GB" sz="2200" b="1" dirty="0">
                <a:latin typeface="Trebuchet MS" panose="020B0603020202020204" pitchFamily="34" charset="0"/>
              </a:rPr>
              <a:t>Hydrological Modelling</a:t>
            </a:r>
            <a:br>
              <a:rPr lang="en-GB" sz="2200" dirty="0">
                <a:latin typeface="Trebuchet MS" panose="020B0603020202020204" pitchFamily="34" charset="0"/>
              </a:rPr>
            </a:br>
            <a:r>
              <a:rPr lang="en-GB" sz="2200" dirty="0">
                <a:latin typeface="Trebuchet MS" panose="020B0603020202020204" pitchFamily="34" charset="0"/>
              </a:rPr>
              <a:t>Better calibration of models at event scale</a:t>
            </a:r>
          </a:p>
          <a:p>
            <a:endParaRPr lang="en-GB" sz="2200" dirty="0">
              <a:latin typeface="Trebuchet MS" panose="020B0603020202020204" pitchFamily="34" charset="0"/>
            </a:endParaRPr>
          </a:p>
          <a:p>
            <a:r>
              <a:rPr lang="en-GB" sz="2200" b="1" dirty="0">
                <a:latin typeface="Trebuchet MS" panose="020B0603020202020204" pitchFamily="34" charset="0"/>
              </a:rPr>
              <a:t>Statistical analysis</a:t>
            </a:r>
          </a:p>
          <a:p>
            <a:r>
              <a:rPr lang="en-GB" sz="2200" dirty="0">
                <a:latin typeface="Trebuchet MS" panose="020B0603020202020204" pitchFamily="34" charset="0"/>
              </a:rPr>
              <a:t>Ability to capture and represent flood event dynamics</a:t>
            </a:r>
          </a:p>
          <a:p>
            <a:endParaRPr lang="en-GB" sz="2200" dirty="0">
              <a:latin typeface="Trebuchet MS" panose="020B0603020202020204" pitchFamily="34" charset="0"/>
            </a:endParaRPr>
          </a:p>
          <a:p>
            <a:r>
              <a:rPr lang="en-GB" sz="2200" b="1" dirty="0">
                <a:latin typeface="Trebuchet MS" panose="020B0603020202020204" pitchFamily="34" charset="0"/>
              </a:rPr>
              <a:t>Climate change</a:t>
            </a:r>
          </a:p>
          <a:p>
            <a:r>
              <a:rPr lang="en-GB" sz="2200" dirty="0">
                <a:latin typeface="Trebuchet MS" panose="020B0603020202020204" pitchFamily="34" charset="0"/>
              </a:rPr>
              <a:t>Ability to capture the sub-daily flood intensification within the year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B33AAB7-3978-6E52-7DA7-8D285CCA5FA1}"/>
              </a:ext>
            </a:extLst>
          </p:cNvPr>
          <p:cNvSpPr txBox="1"/>
          <p:nvPr/>
        </p:nvSpPr>
        <p:spPr>
          <a:xfrm>
            <a:off x="6096000" y="1698047"/>
            <a:ext cx="5965095" cy="1785104"/>
          </a:xfrm>
          <a:custGeom>
            <a:avLst/>
            <a:gdLst>
              <a:gd name="connsiteX0" fmla="*/ 0 w 5965095"/>
              <a:gd name="connsiteY0" fmla="*/ 0 h 1785104"/>
              <a:gd name="connsiteX1" fmla="*/ 715811 w 5965095"/>
              <a:gd name="connsiteY1" fmla="*/ 0 h 1785104"/>
              <a:gd name="connsiteX2" fmla="*/ 1431623 w 5965095"/>
              <a:gd name="connsiteY2" fmla="*/ 0 h 1785104"/>
              <a:gd name="connsiteX3" fmla="*/ 1968481 w 5965095"/>
              <a:gd name="connsiteY3" fmla="*/ 0 h 1785104"/>
              <a:gd name="connsiteX4" fmla="*/ 2445689 w 5965095"/>
              <a:gd name="connsiteY4" fmla="*/ 0 h 1785104"/>
              <a:gd name="connsiteX5" fmla="*/ 2863246 w 5965095"/>
              <a:gd name="connsiteY5" fmla="*/ 0 h 1785104"/>
              <a:gd name="connsiteX6" fmla="*/ 3340453 w 5965095"/>
              <a:gd name="connsiteY6" fmla="*/ 0 h 1785104"/>
              <a:gd name="connsiteX7" fmla="*/ 3758010 w 5965095"/>
              <a:gd name="connsiteY7" fmla="*/ 0 h 1785104"/>
              <a:gd name="connsiteX8" fmla="*/ 4414170 w 5965095"/>
              <a:gd name="connsiteY8" fmla="*/ 0 h 1785104"/>
              <a:gd name="connsiteX9" fmla="*/ 4831727 w 5965095"/>
              <a:gd name="connsiteY9" fmla="*/ 0 h 1785104"/>
              <a:gd name="connsiteX10" fmla="*/ 5308935 w 5965095"/>
              <a:gd name="connsiteY10" fmla="*/ 0 h 1785104"/>
              <a:gd name="connsiteX11" fmla="*/ 5965095 w 5965095"/>
              <a:gd name="connsiteY11" fmla="*/ 0 h 1785104"/>
              <a:gd name="connsiteX12" fmla="*/ 5965095 w 5965095"/>
              <a:gd name="connsiteY12" fmla="*/ 595035 h 1785104"/>
              <a:gd name="connsiteX13" fmla="*/ 5965095 w 5965095"/>
              <a:gd name="connsiteY13" fmla="*/ 1225771 h 1785104"/>
              <a:gd name="connsiteX14" fmla="*/ 5965095 w 5965095"/>
              <a:gd name="connsiteY14" fmla="*/ 1785104 h 1785104"/>
              <a:gd name="connsiteX15" fmla="*/ 5249284 w 5965095"/>
              <a:gd name="connsiteY15" fmla="*/ 1785104 h 1785104"/>
              <a:gd name="connsiteX16" fmla="*/ 4831727 w 5965095"/>
              <a:gd name="connsiteY16" fmla="*/ 1785104 h 1785104"/>
              <a:gd name="connsiteX17" fmla="*/ 4414170 w 5965095"/>
              <a:gd name="connsiteY17" fmla="*/ 1785104 h 1785104"/>
              <a:gd name="connsiteX18" fmla="*/ 3698359 w 5965095"/>
              <a:gd name="connsiteY18" fmla="*/ 1785104 h 1785104"/>
              <a:gd name="connsiteX19" fmla="*/ 3042198 w 5965095"/>
              <a:gd name="connsiteY19" fmla="*/ 1785104 h 1785104"/>
              <a:gd name="connsiteX20" fmla="*/ 2326387 w 5965095"/>
              <a:gd name="connsiteY20" fmla="*/ 1785104 h 1785104"/>
              <a:gd name="connsiteX21" fmla="*/ 1610576 w 5965095"/>
              <a:gd name="connsiteY21" fmla="*/ 1785104 h 1785104"/>
              <a:gd name="connsiteX22" fmla="*/ 1193019 w 5965095"/>
              <a:gd name="connsiteY22" fmla="*/ 1785104 h 1785104"/>
              <a:gd name="connsiteX23" fmla="*/ 775462 w 5965095"/>
              <a:gd name="connsiteY23" fmla="*/ 1785104 h 1785104"/>
              <a:gd name="connsiteX24" fmla="*/ 0 w 5965095"/>
              <a:gd name="connsiteY24" fmla="*/ 1785104 h 1785104"/>
              <a:gd name="connsiteX25" fmla="*/ 0 w 5965095"/>
              <a:gd name="connsiteY25" fmla="*/ 1225771 h 1785104"/>
              <a:gd name="connsiteX26" fmla="*/ 0 w 5965095"/>
              <a:gd name="connsiteY26" fmla="*/ 648588 h 1785104"/>
              <a:gd name="connsiteX27" fmla="*/ 0 w 5965095"/>
              <a:gd name="connsiteY27" fmla="*/ 0 h 1785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5965095" h="1785104" extrusionOk="0">
                <a:moveTo>
                  <a:pt x="0" y="0"/>
                </a:moveTo>
                <a:cubicBezTo>
                  <a:pt x="260417" y="-16774"/>
                  <a:pt x="566552" y="54087"/>
                  <a:pt x="715811" y="0"/>
                </a:cubicBezTo>
                <a:cubicBezTo>
                  <a:pt x="865070" y="-54087"/>
                  <a:pt x="1282084" y="11006"/>
                  <a:pt x="1431623" y="0"/>
                </a:cubicBezTo>
                <a:cubicBezTo>
                  <a:pt x="1581162" y="-11006"/>
                  <a:pt x="1790543" y="38776"/>
                  <a:pt x="1968481" y="0"/>
                </a:cubicBezTo>
                <a:cubicBezTo>
                  <a:pt x="2146419" y="-38776"/>
                  <a:pt x="2236916" y="36409"/>
                  <a:pt x="2445689" y="0"/>
                </a:cubicBezTo>
                <a:cubicBezTo>
                  <a:pt x="2654462" y="-36409"/>
                  <a:pt x="2704449" y="31597"/>
                  <a:pt x="2863246" y="0"/>
                </a:cubicBezTo>
                <a:cubicBezTo>
                  <a:pt x="3022043" y="-31597"/>
                  <a:pt x="3219971" y="10224"/>
                  <a:pt x="3340453" y="0"/>
                </a:cubicBezTo>
                <a:cubicBezTo>
                  <a:pt x="3460935" y="-10224"/>
                  <a:pt x="3614716" y="41474"/>
                  <a:pt x="3758010" y="0"/>
                </a:cubicBezTo>
                <a:cubicBezTo>
                  <a:pt x="3901304" y="-41474"/>
                  <a:pt x="4219014" y="38686"/>
                  <a:pt x="4414170" y="0"/>
                </a:cubicBezTo>
                <a:cubicBezTo>
                  <a:pt x="4609326" y="-38686"/>
                  <a:pt x="4719687" y="1594"/>
                  <a:pt x="4831727" y="0"/>
                </a:cubicBezTo>
                <a:cubicBezTo>
                  <a:pt x="4943767" y="-1594"/>
                  <a:pt x="5098972" y="5614"/>
                  <a:pt x="5308935" y="0"/>
                </a:cubicBezTo>
                <a:cubicBezTo>
                  <a:pt x="5518898" y="-5614"/>
                  <a:pt x="5662482" y="14068"/>
                  <a:pt x="5965095" y="0"/>
                </a:cubicBezTo>
                <a:cubicBezTo>
                  <a:pt x="5995526" y="216452"/>
                  <a:pt x="5926535" y="427634"/>
                  <a:pt x="5965095" y="595035"/>
                </a:cubicBezTo>
                <a:cubicBezTo>
                  <a:pt x="6003655" y="762437"/>
                  <a:pt x="5941377" y="995911"/>
                  <a:pt x="5965095" y="1225771"/>
                </a:cubicBezTo>
                <a:cubicBezTo>
                  <a:pt x="5988813" y="1455631"/>
                  <a:pt x="5911533" y="1528227"/>
                  <a:pt x="5965095" y="1785104"/>
                </a:cubicBezTo>
                <a:cubicBezTo>
                  <a:pt x="5751225" y="1798991"/>
                  <a:pt x="5577304" y="1750507"/>
                  <a:pt x="5249284" y="1785104"/>
                </a:cubicBezTo>
                <a:cubicBezTo>
                  <a:pt x="4921264" y="1819701"/>
                  <a:pt x="5038591" y="1736180"/>
                  <a:pt x="4831727" y="1785104"/>
                </a:cubicBezTo>
                <a:cubicBezTo>
                  <a:pt x="4624863" y="1834028"/>
                  <a:pt x="4521143" y="1771606"/>
                  <a:pt x="4414170" y="1785104"/>
                </a:cubicBezTo>
                <a:cubicBezTo>
                  <a:pt x="4307197" y="1798602"/>
                  <a:pt x="4002999" y="1730061"/>
                  <a:pt x="3698359" y="1785104"/>
                </a:cubicBezTo>
                <a:cubicBezTo>
                  <a:pt x="3393719" y="1840147"/>
                  <a:pt x="3353981" y="1784641"/>
                  <a:pt x="3042198" y="1785104"/>
                </a:cubicBezTo>
                <a:cubicBezTo>
                  <a:pt x="2730415" y="1785567"/>
                  <a:pt x="2529253" y="1737109"/>
                  <a:pt x="2326387" y="1785104"/>
                </a:cubicBezTo>
                <a:cubicBezTo>
                  <a:pt x="2123521" y="1833099"/>
                  <a:pt x="1759463" y="1735859"/>
                  <a:pt x="1610576" y="1785104"/>
                </a:cubicBezTo>
                <a:cubicBezTo>
                  <a:pt x="1461689" y="1834349"/>
                  <a:pt x="1332882" y="1752337"/>
                  <a:pt x="1193019" y="1785104"/>
                </a:cubicBezTo>
                <a:cubicBezTo>
                  <a:pt x="1053156" y="1817871"/>
                  <a:pt x="960668" y="1769027"/>
                  <a:pt x="775462" y="1785104"/>
                </a:cubicBezTo>
                <a:cubicBezTo>
                  <a:pt x="590256" y="1801181"/>
                  <a:pt x="189039" y="1755100"/>
                  <a:pt x="0" y="1785104"/>
                </a:cubicBezTo>
                <a:cubicBezTo>
                  <a:pt x="-21579" y="1602366"/>
                  <a:pt x="31269" y="1490482"/>
                  <a:pt x="0" y="1225771"/>
                </a:cubicBezTo>
                <a:cubicBezTo>
                  <a:pt x="-31269" y="961060"/>
                  <a:pt x="22954" y="899657"/>
                  <a:pt x="0" y="648588"/>
                </a:cubicBezTo>
                <a:cubicBezTo>
                  <a:pt x="-22954" y="397519"/>
                  <a:pt x="30419" y="270948"/>
                  <a:pt x="0" y="0"/>
                </a:cubicBezTo>
                <a:close/>
              </a:path>
            </a:pathLst>
          </a:custGeom>
          <a:noFill/>
          <a:ln w="28575">
            <a:solidFill>
              <a:schemeClr val="accent5">
                <a:lumMod val="50000"/>
              </a:schemeClr>
            </a:solidFill>
            <a:extLst>
              <a:ext uri="{C807C97D-BFC1-408E-A445-0C87EB9F89A2}">
                <ask:lineSketchStyleProps xmlns:ask="http://schemas.microsoft.com/office/drawing/2018/sketchyshapes" sd="3941031545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200" b="1" dirty="0">
                <a:latin typeface="Trebuchet MS" panose="020B0603020202020204" pitchFamily="34" charset="0"/>
              </a:rPr>
              <a:t>Reducing Uncertainty</a:t>
            </a:r>
          </a:p>
          <a:p>
            <a:endParaRPr lang="en-GB" sz="2200" dirty="0">
              <a:latin typeface="Trebuchet MS" panose="020B0603020202020204" pitchFamily="34" charset="0"/>
            </a:endParaRPr>
          </a:p>
          <a:p>
            <a:r>
              <a:rPr lang="en-GB" sz="2200" dirty="0">
                <a:latin typeface="Trebuchet MS" panose="020B0603020202020204" pitchFamily="34" charset="0"/>
              </a:rPr>
              <a:t>Better estimation of extreme events</a:t>
            </a:r>
          </a:p>
          <a:p>
            <a:endParaRPr lang="en-GB" sz="2200" dirty="0">
              <a:latin typeface="Trebuchet MS" panose="020B0603020202020204" pitchFamily="34" charset="0"/>
            </a:endParaRPr>
          </a:p>
          <a:p>
            <a:r>
              <a:rPr lang="en-GB" sz="2200" dirty="0">
                <a:latin typeface="Trebuchet MS" panose="020B0603020202020204" pitchFamily="34" charset="0"/>
              </a:rPr>
              <a:t>Better representation of climate chang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919CF9-7914-4B3B-0AF0-A796D7490248}"/>
              </a:ext>
            </a:extLst>
          </p:cNvPr>
          <p:cNvSpPr txBox="1"/>
          <p:nvPr/>
        </p:nvSpPr>
        <p:spPr>
          <a:xfrm>
            <a:off x="6217828" y="4512142"/>
            <a:ext cx="5721438" cy="2123658"/>
          </a:xfrm>
          <a:custGeom>
            <a:avLst/>
            <a:gdLst>
              <a:gd name="connsiteX0" fmla="*/ 0 w 5721438"/>
              <a:gd name="connsiteY0" fmla="*/ 0 h 2123658"/>
              <a:gd name="connsiteX1" fmla="*/ 514929 w 5721438"/>
              <a:gd name="connsiteY1" fmla="*/ 0 h 2123658"/>
              <a:gd name="connsiteX2" fmla="*/ 1201502 w 5721438"/>
              <a:gd name="connsiteY2" fmla="*/ 0 h 2123658"/>
              <a:gd name="connsiteX3" fmla="*/ 1716431 w 5721438"/>
              <a:gd name="connsiteY3" fmla="*/ 0 h 2123658"/>
              <a:gd name="connsiteX4" fmla="*/ 2403004 w 5721438"/>
              <a:gd name="connsiteY4" fmla="*/ 0 h 2123658"/>
              <a:gd name="connsiteX5" fmla="*/ 2803505 w 5721438"/>
              <a:gd name="connsiteY5" fmla="*/ 0 h 2123658"/>
              <a:gd name="connsiteX6" fmla="*/ 3261220 w 5721438"/>
              <a:gd name="connsiteY6" fmla="*/ 0 h 2123658"/>
              <a:gd name="connsiteX7" fmla="*/ 3890578 w 5721438"/>
              <a:gd name="connsiteY7" fmla="*/ 0 h 2123658"/>
              <a:gd name="connsiteX8" fmla="*/ 4519936 w 5721438"/>
              <a:gd name="connsiteY8" fmla="*/ 0 h 2123658"/>
              <a:gd name="connsiteX9" fmla="*/ 5034865 w 5721438"/>
              <a:gd name="connsiteY9" fmla="*/ 0 h 2123658"/>
              <a:gd name="connsiteX10" fmla="*/ 5721438 w 5721438"/>
              <a:gd name="connsiteY10" fmla="*/ 0 h 2123658"/>
              <a:gd name="connsiteX11" fmla="*/ 5721438 w 5721438"/>
              <a:gd name="connsiteY11" fmla="*/ 573388 h 2123658"/>
              <a:gd name="connsiteX12" fmla="*/ 5721438 w 5721438"/>
              <a:gd name="connsiteY12" fmla="*/ 1146775 h 2123658"/>
              <a:gd name="connsiteX13" fmla="*/ 5721438 w 5721438"/>
              <a:gd name="connsiteY13" fmla="*/ 1635217 h 2123658"/>
              <a:gd name="connsiteX14" fmla="*/ 5721438 w 5721438"/>
              <a:gd name="connsiteY14" fmla="*/ 2123658 h 2123658"/>
              <a:gd name="connsiteX15" fmla="*/ 5034865 w 5721438"/>
              <a:gd name="connsiteY15" fmla="*/ 2123658 h 2123658"/>
              <a:gd name="connsiteX16" fmla="*/ 4634365 w 5721438"/>
              <a:gd name="connsiteY16" fmla="*/ 2123658 h 2123658"/>
              <a:gd name="connsiteX17" fmla="*/ 3947792 w 5721438"/>
              <a:gd name="connsiteY17" fmla="*/ 2123658 h 2123658"/>
              <a:gd name="connsiteX18" fmla="*/ 3261220 w 5721438"/>
              <a:gd name="connsiteY18" fmla="*/ 2123658 h 2123658"/>
              <a:gd name="connsiteX19" fmla="*/ 2746290 w 5721438"/>
              <a:gd name="connsiteY19" fmla="*/ 2123658 h 2123658"/>
              <a:gd name="connsiteX20" fmla="*/ 2116932 w 5721438"/>
              <a:gd name="connsiteY20" fmla="*/ 2123658 h 2123658"/>
              <a:gd name="connsiteX21" fmla="*/ 1602003 w 5721438"/>
              <a:gd name="connsiteY21" fmla="*/ 2123658 h 2123658"/>
              <a:gd name="connsiteX22" fmla="*/ 1087073 w 5721438"/>
              <a:gd name="connsiteY22" fmla="*/ 2123658 h 2123658"/>
              <a:gd name="connsiteX23" fmla="*/ 572144 w 5721438"/>
              <a:gd name="connsiteY23" fmla="*/ 2123658 h 2123658"/>
              <a:gd name="connsiteX24" fmla="*/ 0 w 5721438"/>
              <a:gd name="connsiteY24" fmla="*/ 2123658 h 2123658"/>
              <a:gd name="connsiteX25" fmla="*/ 0 w 5721438"/>
              <a:gd name="connsiteY25" fmla="*/ 1656453 h 2123658"/>
              <a:gd name="connsiteX26" fmla="*/ 0 w 5721438"/>
              <a:gd name="connsiteY26" fmla="*/ 1104302 h 2123658"/>
              <a:gd name="connsiteX27" fmla="*/ 0 w 5721438"/>
              <a:gd name="connsiteY27" fmla="*/ 573388 h 2123658"/>
              <a:gd name="connsiteX28" fmla="*/ 0 w 5721438"/>
              <a:gd name="connsiteY28" fmla="*/ 0 h 2123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721438" h="2123658" extrusionOk="0">
                <a:moveTo>
                  <a:pt x="0" y="0"/>
                </a:moveTo>
                <a:cubicBezTo>
                  <a:pt x="163107" y="-55593"/>
                  <a:pt x="402506" y="46855"/>
                  <a:pt x="514929" y="0"/>
                </a:cubicBezTo>
                <a:cubicBezTo>
                  <a:pt x="627352" y="-46855"/>
                  <a:pt x="1063659" y="71196"/>
                  <a:pt x="1201502" y="0"/>
                </a:cubicBezTo>
                <a:cubicBezTo>
                  <a:pt x="1339345" y="-71196"/>
                  <a:pt x="1609279" y="27748"/>
                  <a:pt x="1716431" y="0"/>
                </a:cubicBezTo>
                <a:cubicBezTo>
                  <a:pt x="1823583" y="-27748"/>
                  <a:pt x="2226081" y="43035"/>
                  <a:pt x="2403004" y="0"/>
                </a:cubicBezTo>
                <a:cubicBezTo>
                  <a:pt x="2579927" y="-43035"/>
                  <a:pt x="2665925" y="41466"/>
                  <a:pt x="2803505" y="0"/>
                </a:cubicBezTo>
                <a:cubicBezTo>
                  <a:pt x="2941085" y="-41466"/>
                  <a:pt x="3126455" y="47652"/>
                  <a:pt x="3261220" y="0"/>
                </a:cubicBezTo>
                <a:cubicBezTo>
                  <a:pt x="3395986" y="-47652"/>
                  <a:pt x="3727615" y="28247"/>
                  <a:pt x="3890578" y="0"/>
                </a:cubicBezTo>
                <a:cubicBezTo>
                  <a:pt x="4053541" y="-28247"/>
                  <a:pt x="4251231" y="23221"/>
                  <a:pt x="4519936" y="0"/>
                </a:cubicBezTo>
                <a:cubicBezTo>
                  <a:pt x="4788641" y="-23221"/>
                  <a:pt x="4845864" y="24268"/>
                  <a:pt x="5034865" y="0"/>
                </a:cubicBezTo>
                <a:cubicBezTo>
                  <a:pt x="5223866" y="-24268"/>
                  <a:pt x="5408725" y="24715"/>
                  <a:pt x="5721438" y="0"/>
                </a:cubicBezTo>
                <a:cubicBezTo>
                  <a:pt x="5723052" y="260235"/>
                  <a:pt x="5678146" y="412962"/>
                  <a:pt x="5721438" y="573388"/>
                </a:cubicBezTo>
                <a:cubicBezTo>
                  <a:pt x="5764730" y="733814"/>
                  <a:pt x="5668663" y="967873"/>
                  <a:pt x="5721438" y="1146775"/>
                </a:cubicBezTo>
                <a:cubicBezTo>
                  <a:pt x="5774213" y="1325677"/>
                  <a:pt x="5695580" y="1490276"/>
                  <a:pt x="5721438" y="1635217"/>
                </a:cubicBezTo>
                <a:cubicBezTo>
                  <a:pt x="5747296" y="1780158"/>
                  <a:pt x="5676162" y="1993876"/>
                  <a:pt x="5721438" y="2123658"/>
                </a:cubicBezTo>
                <a:cubicBezTo>
                  <a:pt x="5544832" y="2199205"/>
                  <a:pt x="5196656" y="2113169"/>
                  <a:pt x="5034865" y="2123658"/>
                </a:cubicBezTo>
                <a:cubicBezTo>
                  <a:pt x="4873074" y="2134147"/>
                  <a:pt x="4793691" y="2109481"/>
                  <a:pt x="4634365" y="2123658"/>
                </a:cubicBezTo>
                <a:cubicBezTo>
                  <a:pt x="4475039" y="2137835"/>
                  <a:pt x="4231794" y="2063873"/>
                  <a:pt x="3947792" y="2123658"/>
                </a:cubicBezTo>
                <a:cubicBezTo>
                  <a:pt x="3663790" y="2183443"/>
                  <a:pt x="3544911" y="2118077"/>
                  <a:pt x="3261220" y="2123658"/>
                </a:cubicBezTo>
                <a:cubicBezTo>
                  <a:pt x="2977529" y="2129239"/>
                  <a:pt x="2856436" y="2082677"/>
                  <a:pt x="2746290" y="2123658"/>
                </a:cubicBezTo>
                <a:cubicBezTo>
                  <a:pt x="2636144" y="2164639"/>
                  <a:pt x="2333126" y="2114758"/>
                  <a:pt x="2116932" y="2123658"/>
                </a:cubicBezTo>
                <a:cubicBezTo>
                  <a:pt x="1900738" y="2132558"/>
                  <a:pt x="1826537" y="2119996"/>
                  <a:pt x="1602003" y="2123658"/>
                </a:cubicBezTo>
                <a:cubicBezTo>
                  <a:pt x="1377469" y="2127320"/>
                  <a:pt x="1197878" y="2067948"/>
                  <a:pt x="1087073" y="2123658"/>
                </a:cubicBezTo>
                <a:cubicBezTo>
                  <a:pt x="976268" y="2179368"/>
                  <a:pt x="797433" y="2120771"/>
                  <a:pt x="572144" y="2123658"/>
                </a:cubicBezTo>
                <a:cubicBezTo>
                  <a:pt x="346855" y="2126545"/>
                  <a:pt x="114525" y="2062576"/>
                  <a:pt x="0" y="2123658"/>
                </a:cubicBezTo>
                <a:cubicBezTo>
                  <a:pt x="-33834" y="2028655"/>
                  <a:pt x="12715" y="1806839"/>
                  <a:pt x="0" y="1656453"/>
                </a:cubicBezTo>
                <a:cubicBezTo>
                  <a:pt x="-12715" y="1506067"/>
                  <a:pt x="23326" y="1243257"/>
                  <a:pt x="0" y="1104302"/>
                </a:cubicBezTo>
                <a:cubicBezTo>
                  <a:pt x="-23326" y="965347"/>
                  <a:pt x="48032" y="698885"/>
                  <a:pt x="0" y="573388"/>
                </a:cubicBezTo>
                <a:cubicBezTo>
                  <a:pt x="-48032" y="447891"/>
                  <a:pt x="61734" y="219824"/>
                  <a:pt x="0" y="0"/>
                </a:cubicBezTo>
                <a:close/>
              </a:path>
            </a:pathLst>
          </a:custGeom>
          <a:noFill/>
          <a:ln w="28575">
            <a:solidFill>
              <a:schemeClr val="accent5">
                <a:lumMod val="10000"/>
              </a:schemeClr>
            </a:solidFill>
            <a:extLst>
              <a:ext uri="{C807C97D-BFC1-408E-A445-0C87EB9F89A2}">
                <ask:lineSketchStyleProps xmlns:ask="http://schemas.microsoft.com/office/drawing/2018/sketchyshapes" sd="1455543236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pPr algn="ctr"/>
            <a:r>
              <a:rPr lang="en-GB" sz="2200" b="1" dirty="0">
                <a:latin typeface="Trebuchet MS" panose="020B0603020202020204" pitchFamily="34" charset="0"/>
              </a:rPr>
              <a:t>Impact on Practice</a:t>
            </a:r>
          </a:p>
          <a:p>
            <a:r>
              <a:rPr lang="en-GB" sz="2200" dirty="0">
                <a:latin typeface="Trebuchet MS" panose="020B0603020202020204" pitchFamily="34" charset="0"/>
              </a:rPr>
              <a:t>More robust flood risk estimation guidelines</a:t>
            </a:r>
          </a:p>
          <a:p>
            <a:endParaRPr lang="en-GB" sz="2200" dirty="0">
              <a:latin typeface="Trebuchet MS" panose="020B0603020202020204" pitchFamily="34" charset="0"/>
            </a:endParaRPr>
          </a:p>
          <a:p>
            <a:r>
              <a:rPr lang="en-GB" sz="2200" dirty="0">
                <a:latin typeface="Trebuchet MS" panose="020B0603020202020204" pitchFamily="34" charset="0"/>
              </a:rPr>
              <a:t>Improved design flood estimates</a:t>
            </a:r>
          </a:p>
          <a:p>
            <a:endParaRPr lang="en-GB" sz="2200" dirty="0">
              <a:latin typeface="Trebuchet MS" panose="020B0603020202020204" pitchFamily="34" charset="0"/>
            </a:endParaRPr>
          </a:p>
          <a:p>
            <a:r>
              <a:rPr lang="en-GB" sz="2200" dirty="0">
                <a:latin typeface="Trebuchet MS" panose="020B0603020202020204" pitchFamily="34" charset="0"/>
              </a:rPr>
              <a:t>Enhanced flood resilience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7669E75F-FB67-E08E-5D4C-7FD8950D6D18}"/>
              </a:ext>
            </a:extLst>
          </p:cNvPr>
          <p:cNvSpPr/>
          <p:nvPr/>
        </p:nvSpPr>
        <p:spPr>
          <a:xfrm>
            <a:off x="5080001" y="1731593"/>
            <a:ext cx="841828" cy="1045029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030471-AFFF-6917-51D8-206A70178440}"/>
              </a:ext>
            </a:extLst>
          </p:cNvPr>
          <p:cNvSpPr txBox="1"/>
          <p:nvPr/>
        </p:nvSpPr>
        <p:spPr>
          <a:xfrm>
            <a:off x="5099531" y="2880380"/>
            <a:ext cx="5645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>
                <a:latin typeface="Trebuchet MS" panose="020B0603020202020204" pitchFamily="34" charset="0"/>
              </a:rPr>
              <a:t>By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13B44E60-5401-C20E-55AC-38E7DC0CDEDF}"/>
              </a:ext>
            </a:extLst>
          </p:cNvPr>
          <p:cNvSpPr/>
          <p:nvPr/>
        </p:nvSpPr>
        <p:spPr>
          <a:xfrm rot="5400000">
            <a:off x="7414402" y="3475132"/>
            <a:ext cx="841828" cy="1045029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891445-0671-0A06-96F5-AC9D09BAF404}"/>
              </a:ext>
            </a:extLst>
          </p:cNvPr>
          <p:cNvSpPr txBox="1"/>
          <p:nvPr/>
        </p:nvSpPr>
        <p:spPr>
          <a:xfrm>
            <a:off x="8653895" y="3680522"/>
            <a:ext cx="18710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>
                <a:latin typeface="Trebuchet MS" panose="020B0603020202020204" pitchFamily="34" charset="0"/>
              </a:rPr>
              <a:t>Leading to</a:t>
            </a:r>
          </a:p>
        </p:txBody>
      </p:sp>
      <p:pic>
        <p:nvPicPr>
          <p:cNvPr id="13" name="Picture 12" descr="A blue and white logo&#10;&#10;AI-generated content may be incorrect.">
            <a:extLst>
              <a:ext uri="{FF2B5EF4-FFF2-40B4-BE49-F238E27FC236}">
                <a16:creationId xmlns:a16="http://schemas.microsoft.com/office/drawing/2014/main" id="{2A289D77-0EC7-E817-8A90-98D1617FB6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0162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F71FE3-4FE1-3CD7-4D8A-8D7A9702AF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four square boxes with numbers&#10;&#10;AI-generated content may be incorrect.">
            <a:extLst>
              <a:ext uri="{FF2B5EF4-FFF2-40B4-BE49-F238E27FC236}">
                <a16:creationId xmlns:a16="http://schemas.microsoft.com/office/drawing/2014/main" id="{21A246FF-0D6A-44F0-702F-33A0A3286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49" t="49710" r="-531" b="220"/>
          <a:stretch>
            <a:fillRect/>
          </a:stretch>
        </p:blipFill>
        <p:spPr>
          <a:xfrm>
            <a:off x="9720000" y="4320000"/>
            <a:ext cx="2177743" cy="2160000"/>
          </a:xfrm>
          <a:prstGeom prst="rect">
            <a:avLst/>
          </a:prstGeom>
        </p:spPr>
      </p:pic>
      <p:pic>
        <p:nvPicPr>
          <p:cNvPr id="17" name="Picture 16" descr="A four square boxes with numbers&#10;&#10;AI-generated content may be incorrect.">
            <a:extLst>
              <a:ext uri="{FF2B5EF4-FFF2-40B4-BE49-F238E27FC236}">
                <a16:creationId xmlns:a16="http://schemas.microsoft.com/office/drawing/2014/main" id="{FBED7B98-EE8B-875C-3B16-E37D76567A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710" r="49519" b="220"/>
          <a:stretch>
            <a:fillRect/>
          </a:stretch>
        </p:blipFill>
        <p:spPr>
          <a:xfrm>
            <a:off x="6480000" y="3445740"/>
            <a:ext cx="2177743" cy="2160000"/>
          </a:xfrm>
          <a:prstGeom prst="rect">
            <a:avLst/>
          </a:prstGeom>
        </p:spPr>
      </p:pic>
      <p:pic>
        <p:nvPicPr>
          <p:cNvPr id="19" name="Picture 18" descr="A four square boxes with numbers&#10;&#10;AI-generated content may be incorrect.">
            <a:extLst>
              <a:ext uri="{FF2B5EF4-FFF2-40B4-BE49-F238E27FC236}">
                <a16:creationId xmlns:a16="http://schemas.microsoft.com/office/drawing/2014/main" id="{14EDEF9D-7DC5-C045-EA12-9F6B4A739F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34" t="1" r="-531" b="49929"/>
          <a:stretch>
            <a:fillRect/>
          </a:stretch>
        </p:blipFill>
        <p:spPr>
          <a:xfrm>
            <a:off x="3240000" y="1337040"/>
            <a:ext cx="2143904" cy="2160000"/>
          </a:xfrm>
          <a:prstGeom prst="rect">
            <a:avLst/>
          </a:prstGeom>
        </p:spPr>
      </p:pic>
      <p:pic>
        <p:nvPicPr>
          <p:cNvPr id="20" name="Picture 19" descr="A four square boxes with numbers&#10;&#10;AI-generated content may be incorrect.">
            <a:extLst>
              <a:ext uri="{FF2B5EF4-FFF2-40B4-BE49-F238E27FC236}">
                <a16:creationId xmlns:a16="http://schemas.microsoft.com/office/drawing/2014/main" id="{AB7C6325-4A80-791D-6804-E9513FFD4EA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EFDFD"/>
              </a:clrFrom>
              <a:clrTo>
                <a:srgbClr val="FE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50303" b="49929"/>
          <a:stretch>
            <a:fillRect/>
          </a:stretch>
        </p:blipFill>
        <p:spPr>
          <a:xfrm>
            <a:off x="360000" y="394200"/>
            <a:ext cx="2143904" cy="2160000"/>
          </a:xfrm>
          <a:prstGeom prst="rect">
            <a:avLst/>
          </a:prstGeom>
          <a:ln>
            <a:noFill/>
          </a:ln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7FA210C-D71E-46C0-C61F-4C221485EB63}"/>
              </a:ext>
            </a:extLst>
          </p:cNvPr>
          <p:cNvSpPr txBox="1"/>
          <p:nvPr/>
        </p:nvSpPr>
        <p:spPr>
          <a:xfrm>
            <a:off x="772336" y="1139604"/>
            <a:ext cx="148493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600" b="1" dirty="0">
                <a:latin typeface="Trebuchet MS" panose="020B0603020202020204" pitchFamily="34" charset="0"/>
              </a:rPr>
              <a:t>Getting started</a:t>
            </a:r>
            <a:endParaRPr kumimoji="0" lang="en-US" altLang="en-US" sz="2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9E23610-B1D4-351F-8312-C86CA387A091}"/>
              </a:ext>
            </a:extLst>
          </p:cNvPr>
          <p:cNvSpPr txBox="1"/>
          <p:nvPr/>
        </p:nvSpPr>
        <p:spPr>
          <a:xfrm>
            <a:off x="3399661" y="2077876"/>
            <a:ext cx="159734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600" b="1" dirty="0">
                <a:latin typeface="Trebuchet MS" panose="020B0603020202020204" pitchFamily="34" charset="0"/>
              </a:rPr>
              <a:t>Inside the data</a:t>
            </a:r>
            <a:endParaRPr kumimoji="0" lang="en-US" altLang="en-US" sz="2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14578F-D429-3FE4-86DA-F7B0D5694432}"/>
              </a:ext>
            </a:extLst>
          </p:cNvPr>
          <p:cNvSpPr txBox="1"/>
          <p:nvPr/>
        </p:nvSpPr>
        <p:spPr>
          <a:xfrm>
            <a:off x="6684475" y="4046956"/>
            <a:ext cx="176879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600" b="1" dirty="0">
                <a:latin typeface="Trebuchet MS" panose="020B0603020202020204" pitchFamily="34" charset="0"/>
              </a:rPr>
              <a:t>Using the data</a:t>
            </a:r>
            <a:endParaRPr kumimoji="0" lang="en-US" altLang="en-US" sz="2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2A6C687-D778-CAC2-198B-FD10A6A24C5D}"/>
              </a:ext>
            </a:extLst>
          </p:cNvPr>
          <p:cNvSpPr txBox="1"/>
          <p:nvPr/>
        </p:nvSpPr>
        <p:spPr>
          <a:xfrm>
            <a:off x="9889807" y="4953724"/>
            <a:ext cx="1586865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600" b="1" dirty="0">
                <a:latin typeface="Trebuchet MS" panose="020B0603020202020204" pitchFamily="34" charset="0"/>
              </a:rPr>
              <a:t>Why it matters</a:t>
            </a:r>
            <a:endParaRPr kumimoji="0" lang="en-US" altLang="en-US" sz="2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020380D-13B3-8A3E-2A87-12E54ADBF23C}"/>
              </a:ext>
            </a:extLst>
          </p:cNvPr>
          <p:cNvCxnSpPr>
            <a:cxnSpLocks/>
          </p:cNvCxnSpPr>
          <p:nvPr/>
        </p:nvCxnSpPr>
        <p:spPr>
          <a:xfrm>
            <a:off x="537374" y="711736"/>
            <a:ext cx="0" cy="5652000"/>
          </a:xfrm>
          <a:prstGeom prst="line">
            <a:avLst/>
          </a:prstGeom>
          <a:ln>
            <a:solidFill>
              <a:srgbClr val="4A9C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3E5ABE46-8FAE-2443-6083-3B487A8426D0}"/>
              </a:ext>
            </a:extLst>
          </p:cNvPr>
          <p:cNvSpPr txBox="1"/>
          <p:nvPr/>
        </p:nvSpPr>
        <p:spPr>
          <a:xfrm>
            <a:off x="509109" y="5092831"/>
            <a:ext cx="202295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4A9C94"/>
                </a:solidFill>
                <a:effectLst/>
                <a:latin typeface="Trebuchet MS" panose="020B0603020202020204" pitchFamily="34" charset="0"/>
                <a:hlinkClick r:id="rId3" action="ppaction://hlinksldjump"/>
              </a:rPr>
              <a:t> Why build it?</a:t>
            </a:r>
            <a:endParaRPr lang="en-US" altLang="en-US" b="1" dirty="0">
              <a:solidFill>
                <a:srgbClr val="4A9C94"/>
              </a:solidFill>
              <a:latin typeface="Trebuchet MS" panose="020B0603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4A9C94"/>
                </a:solidFill>
                <a:effectLst/>
                <a:latin typeface="Trebuchet MS" panose="020B0603020202020204" pitchFamily="34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4A9C94"/>
                </a:solidFill>
                <a:effectLst/>
                <a:latin typeface="Trebuchet MS" panose="020B0603020202020204" pitchFamily="34" charset="0"/>
              </a:rPr>
              <a:t> 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4A9C94"/>
                </a:solidFill>
                <a:effectLst/>
                <a:latin typeface="Trebuchet MS" panose="020B0603020202020204" pitchFamily="34" charset="0"/>
                <a:hlinkClick r:id="rId4" action="ppaction://hlinksldjump"/>
              </a:rPr>
              <a:t>How long did it take? </a:t>
            </a:r>
            <a:endParaRPr kumimoji="0" lang="en-US" altLang="en-US" sz="1800" b="1" i="0" u="none" strike="noStrike" cap="none" normalizeH="0" baseline="0" dirty="0">
              <a:ln>
                <a:noFill/>
              </a:ln>
              <a:solidFill>
                <a:srgbClr val="4A9C94"/>
              </a:solidFill>
              <a:effectLst/>
              <a:latin typeface="Trebuchet MS" panose="020B0603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BE05EE0-80A0-ADDB-6AE8-16BEA7074350}"/>
              </a:ext>
            </a:extLst>
          </p:cNvPr>
          <p:cNvSpPr txBox="1"/>
          <p:nvPr/>
        </p:nvSpPr>
        <p:spPr>
          <a:xfrm>
            <a:off x="3347541" y="3703053"/>
            <a:ext cx="3359937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4B7EC8"/>
                </a:solidFill>
                <a:effectLst/>
                <a:latin typeface="Trebuchet MS" panose="020B0603020202020204" pitchFamily="34" charset="0"/>
              </a:rPr>
              <a:t> 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4B7EC8"/>
                </a:solidFill>
                <a:effectLst/>
                <a:latin typeface="Trebuchet MS" panose="020B0603020202020204" pitchFamily="34" charset="0"/>
                <a:hlinkClick r:id="rId5" action="ppaction://hlinksldjump"/>
              </a:rPr>
              <a:t>Dataset coverage</a:t>
            </a:r>
            <a:endParaRPr kumimoji="0" lang="en-US" altLang="en-US" sz="1800" b="1" i="0" u="none" strike="noStrike" cap="none" normalizeH="0" baseline="0" dirty="0">
              <a:ln>
                <a:noFill/>
              </a:ln>
              <a:solidFill>
                <a:srgbClr val="4B7EC8"/>
              </a:solidFill>
              <a:effectLst/>
              <a:latin typeface="Trebuchet MS" panose="020B0603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800" b="1" i="0" u="none" strike="noStrike" cap="none" normalizeH="0" baseline="0" dirty="0">
              <a:ln>
                <a:noFill/>
              </a:ln>
              <a:solidFill>
                <a:srgbClr val="4B7EC8"/>
              </a:solidFill>
              <a:effectLst/>
              <a:latin typeface="Trebuchet MS" panose="020B0603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4B7EC8"/>
                </a:solidFill>
                <a:effectLst/>
                <a:latin typeface="Trebuchet MS" panose="020B0603020202020204" pitchFamily="34" charset="0"/>
              </a:rPr>
              <a:t> 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4B7EC8"/>
                </a:solidFill>
                <a:effectLst/>
                <a:latin typeface="Trebuchet MS" panose="020B0603020202020204" pitchFamily="34" charset="0"/>
                <a:hlinkClick r:id="rId6" action="ppaction://hlinksldjump"/>
              </a:rPr>
              <a:t>Dataset Structure</a:t>
            </a:r>
            <a:endParaRPr kumimoji="0" lang="en-US" altLang="en-US" sz="1800" b="1" i="0" u="none" strike="noStrike" cap="none" normalizeH="0" baseline="0" dirty="0">
              <a:ln>
                <a:noFill/>
              </a:ln>
              <a:solidFill>
                <a:srgbClr val="4B7EC8"/>
              </a:solidFill>
              <a:effectLst/>
              <a:latin typeface="Trebuchet MS" panose="020B0603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800" b="1" i="0" u="none" strike="noStrike" cap="none" normalizeH="0" baseline="0" dirty="0">
              <a:ln>
                <a:noFill/>
              </a:ln>
              <a:solidFill>
                <a:srgbClr val="4B7EC8"/>
              </a:solidFill>
              <a:effectLst/>
              <a:latin typeface="Trebuchet MS" panose="020B0603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4B7EC8"/>
                </a:solidFill>
                <a:effectLst/>
                <a:latin typeface="Trebuchet MS" panose="020B0603020202020204" pitchFamily="34" charset="0"/>
              </a:rPr>
              <a:t> 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4B7EC8"/>
                </a:solidFill>
                <a:effectLst/>
                <a:latin typeface="Trebuchet MS" panose="020B0603020202020204" pitchFamily="34" charset="0"/>
                <a:hlinkClick r:id="rId7" action="ppaction://hlinksldjump"/>
              </a:rPr>
              <a:t>Visual  Quality Control</a:t>
            </a:r>
            <a:endParaRPr kumimoji="0" lang="en-US" altLang="en-US" sz="1800" b="1" i="0" u="none" strike="noStrike" cap="none" normalizeH="0" baseline="0" dirty="0">
              <a:ln>
                <a:noFill/>
              </a:ln>
              <a:solidFill>
                <a:srgbClr val="4B7EC8"/>
              </a:solidFill>
              <a:effectLst/>
              <a:latin typeface="Trebuchet MS" panose="020B0603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800" b="1" i="0" u="none" strike="noStrike" cap="none" normalizeH="0" baseline="0" dirty="0">
              <a:ln>
                <a:noFill/>
              </a:ln>
              <a:solidFill>
                <a:srgbClr val="4B7EC8"/>
              </a:solidFill>
              <a:effectLst/>
              <a:latin typeface="Trebuchet MS" panose="020B0603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lang="en-US" altLang="en-US" b="1" dirty="0">
                <a:solidFill>
                  <a:srgbClr val="4B7EC8"/>
                </a:solidFill>
                <a:latin typeface="Trebuchet MS" panose="020B0603020202020204" pitchFamily="34" charset="0"/>
              </a:rPr>
              <a:t> </a:t>
            </a:r>
            <a:r>
              <a:rPr lang="en-US" altLang="en-US" b="1" dirty="0">
                <a:solidFill>
                  <a:srgbClr val="4B7EC8"/>
                </a:solidFill>
                <a:latin typeface="Trebuchet MS" panose="020B0603020202020204" pitchFamily="34" charset="0"/>
                <a:hlinkClick r:id="rId8" action="ppaction://hlinksldjump"/>
              </a:rPr>
              <a:t>Statistical Quality control</a:t>
            </a:r>
            <a:endParaRPr lang="en-US" altLang="en-US" b="1" dirty="0">
              <a:solidFill>
                <a:srgbClr val="4B7EC8"/>
              </a:solidFill>
              <a:latin typeface="Trebuchet MS" panose="020B0603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en-US" altLang="en-US" b="1" dirty="0">
              <a:solidFill>
                <a:srgbClr val="4B7EC8"/>
              </a:solidFill>
              <a:latin typeface="Trebuchet MS" panose="020B0603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4B7EC8"/>
                </a:solidFill>
                <a:effectLst/>
                <a:latin typeface="Trebuchet MS" panose="020B0603020202020204" pitchFamily="34" charset="0"/>
              </a:rPr>
              <a:t> 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4B7EC8"/>
                </a:solidFill>
                <a:effectLst/>
                <a:latin typeface="Trebuchet MS" panose="020B0603020202020204" pitchFamily="34" charset="0"/>
                <a:hlinkClick r:id="rId9" action="ppaction://hlinksldjump"/>
              </a:rPr>
              <a:t>Planned updates</a:t>
            </a:r>
            <a:endParaRPr kumimoji="0" lang="en-US" altLang="en-US" sz="1800" b="1" i="0" u="none" strike="noStrike" cap="none" normalizeH="0" baseline="0" dirty="0">
              <a:ln>
                <a:noFill/>
              </a:ln>
              <a:solidFill>
                <a:srgbClr val="4B7EC8"/>
              </a:solidFill>
              <a:effectLst/>
              <a:latin typeface="Trebuchet MS" panose="020B0603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B68B6B2-524C-BD62-6977-305232372C9A}"/>
              </a:ext>
            </a:extLst>
          </p:cNvPr>
          <p:cNvSpPr txBox="1"/>
          <p:nvPr/>
        </p:nvSpPr>
        <p:spPr>
          <a:xfrm>
            <a:off x="9796763" y="770651"/>
            <a:ext cx="2035235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C8785D"/>
                </a:solidFill>
                <a:latin typeface="Trebuchet MS" panose="020B0603020202020204" pitchFamily="34" charset="0"/>
                <a:hlinkClick r:id="rId10" action="ppaction://hlinksldjump"/>
              </a:rPr>
              <a:t>Access to high-res data matters!</a:t>
            </a:r>
            <a:endParaRPr lang="en-GB" b="1" dirty="0">
              <a:solidFill>
                <a:srgbClr val="C8785D"/>
              </a:solidFill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>
              <a:solidFill>
                <a:srgbClr val="C8785D"/>
              </a:solidFill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C8785D"/>
                </a:solidFill>
                <a:latin typeface="Trebuchet MS" panose="020B0603020202020204" pitchFamily="34" charset="0"/>
                <a:hlinkClick r:id="rId11" action="ppaction://hlinksldjump"/>
              </a:rPr>
              <a:t>Real-world impact of the data</a:t>
            </a:r>
            <a:endParaRPr lang="en-GB" b="1" dirty="0">
              <a:solidFill>
                <a:srgbClr val="C8785D"/>
              </a:solidFill>
              <a:latin typeface="Trebuchet MS" panose="020B0603020202020204" pitchFamily="34" charset="0"/>
            </a:endParaRPr>
          </a:p>
          <a:p>
            <a:endParaRPr lang="en-GB" dirty="0">
              <a:latin typeface="Trebuchet MS" panose="020B0603020202020204" pitchFamily="34" charset="0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FAF278C-3058-77AA-D322-5E9CF9C1B0ED}"/>
              </a:ext>
            </a:extLst>
          </p:cNvPr>
          <p:cNvCxnSpPr/>
          <p:nvPr/>
        </p:nvCxnSpPr>
        <p:spPr>
          <a:xfrm>
            <a:off x="3284090" y="1638299"/>
            <a:ext cx="0" cy="4716000"/>
          </a:xfrm>
          <a:prstGeom prst="line">
            <a:avLst/>
          </a:prstGeom>
          <a:ln>
            <a:solidFill>
              <a:srgbClr val="4B7E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AD252DA7-5877-E93B-56CC-36A8B4A51291}"/>
              </a:ext>
            </a:extLst>
          </p:cNvPr>
          <p:cNvCxnSpPr/>
          <p:nvPr/>
        </p:nvCxnSpPr>
        <p:spPr>
          <a:xfrm flipV="1">
            <a:off x="6660000" y="612000"/>
            <a:ext cx="0" cy="3240000"/>
          </a:xfrm>
          <a:prstGeom prst="line">
            <a:avLst/>
          </a:prstGeom>
          <a:ln>
            <a:solidFill>
              <a:srgbClr val="839B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BE0E4183-BACF-5C59-AD9F-69704F517652}"/>
              </a:ext>
            </a:extLst>
          </p:cNvPr>
          <p:cNvCxnSpPr>
            <a:cxnSpLocks/>
          </p:cNvCxnSpPr>
          <p:nvPr/>
        </p:nvCxnSpPr>
        <p:spPr>
          <a:xfrm rot="10800000" flipV="1">
            <a:off x="9792000" y="612000"/>
            <a:ext cx="0" cy="4068000"/>
          </a:xfrm>
          <a:prstGeom prst="line">
            <a:avLst/>
          </a:prstGeom>
          <a:ln>
            <a:solidFill>
              <a:srgbClr val="C878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BE949269-5438-3C21-C8D2-DF15C8CDD6D2}"/>
              </a:ext>
            </a:extLst>
          </p:cNvPr>
          <p:cNvSpPr txBox="1"/>
          <p:nvPr/>
        </p:nvSpPr>
        <p:spPr>
          <a:xfrm>
            <a:off x="6633549" y="770651"/>
            <a:ext cx="3269827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839B61"/>
                </a:solidFill>
                <a:latin typeface="Trebuchet MS" panose="020B0603020202020204" pitchFamily="34" charset="0"/>
                <a:hlinkClick r:id="rId12" action="ppaction://hlinksldjump"/>
              </a:rPr>
              <a:t>Data suitability</a:t>
            </a:r>
            <a:endParaRPr lang="en-GB" b="1" dirty="0">
              <a:solidFill>
                <a:srgbClr val="839B61"/>
              </a:solidFill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>
              <a:solidFill>
                <a:srgbClr val="839B61"/>
              </a:solidFill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839B61"/>
                </a:solidFill>
                <a:latin typeface="Trebuchet MS" panose="020B0603020202020204" pitchFamily="34" charset="0"/>
                <a:hlinkClick r:id="rId13" action="ppaction://hlinksldjump"/>
              </a:rPr>
              <a:t>Artefact removal</a:t>
            </a:r>
            <a:endParaRPr lang="en-GB" b="1" dirty="0">
              <a:solidFill>
                <a:srgbClr val="839B61"/>
              </a:solidFill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>
              <a:solidFill>
                <a:srgbClr val="839B61"/>
              </a:solidFill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839B61"/>
                </a:solidFill>
                <a:latin typeface="Trebuchet MS" panose="020B0603020202020204" pitchFamily="34" charset="0"/>
                <a:hlinkClick r:id="rId14" action="ppaction://hlinksldjump"/>
              </a:rPr>
              <a:t>Hydrological modelling</a:t>
            </a:r>
            <a:endParaRPr lang="en-GB" b="1" dirty="0">
              <a:solidFill>
                <a:srgbClr val="839B61"/>
              </a:solidFill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>
              <a:solidFill>
                <a:srgbClr val="839B61"/>
              </a:solidFill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839B61"/>
                </a:solidFill>
                <a:latin typeface="Trebuchet MS" panose="020B0603020202020204" pitchFamily="34" charset="0"/>
                <a:hlinkClick r:id="rId15" action="ppaction://hlinksldjump"/>
              </a:rPr>
              <a:t>Event study</a:t>
            </a:r>
            <a:endParaRPr lang="en-GB" b="1" dirty="0">
              <a:solidFill>
                <a:srgbClr val="839B61"/>
              </a:solidFill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>
              <a:solidFill>
                <a:srgbClr val="839B61"/>
              </a:solidFill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839B61"/>
                </a:solidFill>
                <a:latin typeface="Trebuchet MS" panose="020B0603020202020204" pitchFamily="34" charset="0"/>
                <a:hlinkClick r:id="rId16" action="ppaction://hlinksldjump"/>
              </a:rPr>
              <a:t>Extreme study</a:t>
            </a:r>
            <a:endParaRPr lang="en-GB" dirty="0">
              <a:latin typeface="Trebuchet MS" panose="020B0603020202020204" pitchFamily="34" charset="0"/>
            </a:endParaRPr>
          </a:p>
        </p:txBody>
      </p:sp>
      <p:sp>
        <p:nvSpPr>
          <p:cNvPr id="79" name="Footer Placeholder 53">
            <a:extLst>
              <a:ext uri="{FF2B5EF4-FFF2-40B4-BE49-F238E27FC236}">
                <a16:creationId xmlns:a16="http://schemas.microsoft.com/office/drawing/2014/main" id="{241E19AC-C0D2-ADA3-AF57-1EAF41A57F1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80" name="Rectangle: Rounded Corners 79">
            <a:hlinkClick r:id="rId17" action="ppaction://hlinksldjump"/>
            <a:extLst>
              <a:ext uri="{FF2B5EF4-FFF2-40B4-BE49-F238E27FC236}">
                <a16:creationId xmlns:a16="http://schemas.microsoft.com/office/drawing/2014/main" id="{BAB5C96D-D5EC-6E74-B387-A93E040BC915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pic>
        <p:nvPicPr>
          <p:cNvPr id="4" name="Picture 3" descr="A blue and white logo&#10;&#10;AI-generated content may be incorrect.">
            <a:extLst>
              <a:ext uri="{FF2B5EF4-FFF2-40B4-BE49-F238E27FC236}">
                <a16:creationId xmlns:a16="http://schemas.microsoft.com/office/drawing/2014/main" id="{52A10A0B-2A2A-C542-F861-50387B8D6A0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6163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30FDB-9C88-2011-2A6C-14030823B4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New picture">
            <a:extLst>
              <a:ext uri="{FF2B5EF4-FFF2-40B4-BE49-F238E27FC236}">
                <a16:creationId xmlns:a16="http://schemas.microsoft.com/office/drawing/2014/main" id="{39BABAF6-068B-0C66-46BD-5187596F4BB3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791" y="1262899"/>
            <a:ext cx="10597958" cy="5143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1056DC7B-CD74-02CB-B78C-7639510DB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7775729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Why build a 15-min dataset?</a:t>
            </a:r>
            <a:endParaRPr lang="en-US" dirty="0">
              <a:latin typeface="Trebuchet MS" panose="020B0603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79B843-4EF6-9CD7-3904-B29FC1094DC8}"/>
              </a:ext>
            </a:extLst>
          </p:cNvPr>
          <p:cNvSpPr txBox="1"/>
          <p:nvPr/>
        </p:nvSpPr>
        <p:spPr>
          <a:xfrm>
            <a:off x="27501" y="1283691"/>
            <a:ext cx="2007749" cy="110799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chemeClr val="accent2">
                    <a:lumMod val="75000"/>
                  </a:schemeClr>
                </a:solidFill>
                <a:latin typeface="Trebuchet MS" panose="020B0603020202020204" pitchFamily="34" charset="0"/>
              </a:rPr>
              <a:t>A summary of UK datasets in 2022…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532E2B-2820-A242-C39B-082884D5EC99}"/>
              </a:ext>
            </a:extLst>
          </p:cNvPr>
          <p:cNvSpPr txBox="1"/>
          <p:nvPr/>
        </p:nvSpPr>
        <p:spPr>
          <a:xfrm>
            <a:off x="10305144" y="1756886"/>
            <a:ext cx="1857988" cy="14465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>
                <a:solidFill>
                  <a:schemeClr val="accent2">
                    <a:lumMod val="75000"/>
                  </a:schemeClr>
                </a:solidFill>
                <a:latin typeface="Trebuchet MS" panose="020B0603020202020204" pitchFamily="34" charset="0"/>
              </a:rPr>
              <a:t>Sub-daily flows nowhere to be found!</a:t>
            </a:r>
          </a:p>
        </p:txBody>
      </p:sp>
      <p:sp>
        <p:nvSpPr>
          <p:cNvPr id="21" name="Rectangle: Rounded Corners 20">
            <a:hlinkClick r:id="rId4" action="ppaction://hlinksldjump"/>
            <a:extLst>
              <a:ext uri="{FF2B5EF4-FFF2-40B4-BE49-F238E27FC236}">
                <a16:creationId xmlns:a16="http://schemas.microsoft.com/office/drawing/2014/main" id="{EA4B0AB0-6F8B-3377-085C-CD4279021812}"/>
              </a:ext>
            </a:extLst>
          </p:cNvPr>
          <p:cNvSpPr/>
          <p:nvPr/>
        </p:nvSpPr>
        <p:spPr>
          <a:xfrm>
            <a:off x="10191750" y="625683"/>
            <a:ext cx="1433513" cy="46510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Build it -&gt;</a:t>
            </a:r>
          </a:p>
        </p:txBody>
      </p:sp>
      <p:pic>
        <p:nvPicPr>
          <p:cNvPr id="23" name="Picture 22" descr="A qr code with a white background&#10;&#10;AI-generated content may be incorrect.">
            <a:extLst>
              <a:ext uri="{FF2B5EF4-FFF2-40B4-BE49-F238E27FC236}">
                <a16:creationId xmlns:a16="http://schemas.microsoft.com/office/drawing/2014/main" id="{EE0E2D83-E09B-22F3-34FA-22A1C692D7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8805" y="4906900"/>
            <a:ext cx="1044000" cy="10440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87EDF82A-5032-4B36-4230-EA32C18AB3DD}"/>
              </a:ext>
            </a:extLst>
          </p:cNvPr>
          <p:cNvSpPr txBox="1"/>
          <p:nvPr/>
        </p:nvSpPr>
        <p:spPr>
          <a:xfrm>
            <a:off x="11230591" y="5889252"/>
            <a:ext cx="894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Trebuchet MS" panose="020B0603020202020204" pitchFamily="34" charset="0"/>
                <a:hlinkClick r:id="rId6"/>
              </a:rPr>
              <a:t>(Fileni et al. 2023)</a:t>
            </a:r>
            <a:endParaRPr lang="en-GB" sz="1200" dirty="0">
              <a:latin typeface="Trebuchet MS" panose="020B0603020202020204" pitchFamily="34" charset="0"/>
            </a:endParaRPr>
          </a:p>
        </p:txBody>
      </p:sp>
      <p:sp>
        <p:nvSpPr>
          <p:cNvPr id="36" name="Footer Placeholder 53">
            <a:extLst>
              <a:ext uri="{FF2B5EF4-FFF2-40B4-BE49-F238E27FC236}">
                <a16:creationId xmlns:a16="http://schemas.microsoft.com/office/drawing/2014/main" id="{DE81974A-EA8C-5174-15E8-7460887319B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37" name="Rectangle: Rounded Corners 36">
            <a:hlinkClick r:id="rId7" action="ppaction://hlinksldjump"/>
            <a:extLst>
              <a:ext uri="{FF2B5EF4-FFF2-40B4-BE49-F238E27FC236}">
                <a16:creationId xmlns:a16="http://schemas.microsoft.com/office/drawing/2014/main" id="{F23B84E0-CEA4-C2E3-09D9-E5F01C72CBCC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38" name="Rectangle: Rounded Corners 37">
            <a:hlinkClick r:id="rId8" action="ppaction://hlinksldjump"/>
            <a:extLst>
              <a:ext uri="{FF2B5EF4-FFF2-40B4-BE49-F238E27FC236}">
                <a16:creationId xmlns:a16="http://schemas.microsoft.com/office/drawing/2014/main" id="{24BE77B0-1208-6F31-3A27-993D86793194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pic>
        <p:nvPicPr>
          <p:cNvPr id="4" name="Picture 3" descr="A blue and white logo&#10;&#10;AI-generated content may be incorrect.">
            <a:extLst>
              <a:ext uri="{FF2B5EF4-FFF2-40B4-BE49-F238E27FC236}">
                <a16:creationId xmlns:a16="http://schemas.microsoft.com/office/drawing/2014/main" id="{135C8EA4-29F5-EEED-E33C-2111E7FFEE2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089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3C92DA-442E-393E-7D79-45C34C0CB3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A9A250B-D871-0C90-790D-8BEC4242663B}"/>
              </a:ext>
            </a:extLst>
          </p:cNvPr>
          <p:cNvSpPr/>
          <p:nvPr/>
        </p:nvSpPr>
        <p:spPr>
          <a:xfrm>
            <a:off x="6436102" y="1213216"/>
            <a:ext cx="5322511" cy="55288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EEC9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EAE58F1-E5FD-1663-6BA4-108E2FD9B7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7775729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How Long did it take?</a:t>
            </a:r>
            <a:endParaRPr lang="en-US" dirty="0">
              <a:latin typeface="Trebuchet MS" panose="020B0603020202020204" pitchFamily="34" charset="0"/>
            </a:endParaRPr>
          </a:p>
        </p:txBody>
      </p:sp>
      <p:sp>
        <p:nvSpPr>
          <p:cNvPr id="54" name="Footer Placeholder 53">
            <a:extLst>
              <a:ext uri="{FF2B5EF4-FFF2-40B4-BE49-F238E27FC236}">
                <a16:creationId xmlns:a16="http://schemas.microsoft.com/office/drawing/2014/main" id="{081B1DD7-0FCB-5925-4AA0-F9FC250B924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21" name="Rectangle: Rounded Corners 20">
            <a:hlinkClick r:id="rId2" action="ppaction://hlinksldjump"/>
            <a:extLst>
              <a:ext uri="{FF2B5EF4-FFF2-40B4-BE49-F238E27FC236}">
                <a16:creationId xmlns:a16="http://schemas.microsoft.com/office/drawing/2014/main" id="{1F91B341-F067-611C-79B2-6E51141B020C}"/>
              </a:ext>
            </a:extLst>
          </p:cNvPr>
          <p:cNvSpPr/>
          <p:nvPr/>
        </p:nvSpPr>
        <p:spPr>
          <a:xfrm>
            <a:off x="10191750" y="625683"/>
            <a:ext cx="1433513" cy="46510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Build it -&gt;</a:t>
            </a:r>
          </a:p>
        </p:txBody>
      </p:sp>
      <p:sp>
        <p:nvSpPr>
          <p:cNvPr id="4" name="Rectangle: Rounded Corners 3">
            <a:hlinkClick r:id="rId3" action="ppaction://hlinksldjump"/>
            <a:extLst>
              <a:ext uri="{FF2B5EF4-FFF2-40B4-BE49-F238E27FC236}">
                <a16:creationId xmlns:a16="http://schemas.microsoft.com/office/drawing/2014/main" id="{E2605C4A-0D5C-2E75-24D7-13B4BA2AEDF3}"/>
              </a:ext>
            </a:extLst>
          </p:cNvPr>
          <p:cNvSpPr/>
          <p:nvPr/>
        </p:nvSpPr>
        <p:spPr>
          <a:xfrm>
            <a:off x="8653895" y="625683"/>
            <a:ext cx="1433513" cy="46510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Build it</a:t>
            </a:r>
          </a:p>
        </p:txBody>
      </p:sp>
      <p:pic>
        <p:nvPicPr>
          <p:cNvPr id="5" name="Picture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BC508C2-E996-E82D-4C80-46209E8D5D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3046" y="1337917"/>
            <a:ext cx="5285567" cy="540419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C5FE9B3-0B03-DC9A-0DEE-F08AA1FE9532}"/>
              </a:ext>
            </a:extLst>
          </p:cNvPr>
          <p:cNvSpPr txBox="1"/>
          <p:nvPr/>
        </p:nvSpPr>
        <p:spPr>
          <a:xfrm>
            <a:off x="492191" y="1985818"/>
            <a:ext cx="5229425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GB" sz="2200" dirty="0">
                <a:latin typeface="Trebuchet MS" panose="020B0603020202020204" pitchFamily="34" charset="0"/>
              </a:rPr>
              <a:t>a scoping phase, in which we explored which data were available and valuable; </a:t>
            </a:r>
          </a:p>
          <a:p>
            <a:pPr marL="457200" indent="-457200">
              <a:buFont typeface="+mj-lt"/>
              <a:buAutoNum type="arabicPeriod"/>
            </a:pPr>
            <a:endParaRPr lang="en-GB" sz="2200" dirty="0">
              <a:latin typeface="Trebuchet MS" panose="020B0603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200" dirty="0">
                <a:latin typeface="Trebuchet MS" panose="020B0603020202020204" pitchFamily="34" charset="0"/>
              </a:rPr>
              <a:t>a consolidation phase, where the dataset was organised into a semi-final version; </a:t>
            </a:r>
          </a:p>
          <a:p>
            <a:pPr marL="457200" indent="-457200">
              <a:buFont typeface="+mj-lt"/>
              <a:buAutoNum type="arabicPeriod"/>
            </a:pPr>
            <a:endParaRPr lang="en-GB" sz="2200" dirty="0">
              <a:latin typeface="Trebuchet MS" panose="020B0603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200" dirty="0">
                <a:latin typeface="Trebuchet MS" panose="020B0603020202020204" pitchFamily="34" charset="0"/>
              </a:rPr>
              <a:t>a refinement phase, during which the dataset was further improved and additional data incorporated </a:t>
            </a:r>
          </a:p>
        </p:txBody>
      </p:sp>
      <p:sp>
        <p:nvSpPr>
          <p:cNvPr id="22" name="Rectangle: Rounded Corners 21">
            <a:hlinkClick r:id="rId5" action="ppaction://hlinksldjump"/>
            <a:extLst>
              <a:ext uri="{FF2B5EF4-FFF2-40B4-BE49-F238E27FC236}">
                <a16:creationId xmlns:a16="http://schemas.microsoft.com/office/drawing/2014/main" id="{E076FC62-5D7E-D0DE-692B-C4D9E435BB74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23" name="Rectangle: Rounded Corners 22">
            <a:hlinkClick r:id="rId6" action="ppaction://hlinksldjump"/>
            <a:extLst>
              <a:ext uri="{FF2B5EF4-FFF2-40B4-BE49-F238E27FC236}">
                <a16:creationId xmlns:a16="http://schemas.microsoft.com/office/drawing/2014/main" id="{D0B2F698-AAA0-E853-6BDB-66AF7D7184A9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pic>
        <p:nvPicPr>
          <p:cNvPr id="6" name="Picture 5" descr="A blue and white logo&#10;&#10;AI-generated content may be incorrect.">
            <a:extLst>
              <a:ext uri="{FF2B5EF4-FFF2-40B4-BE49-F238E27FC236}">
                <a16:creationId xmlns:a16="http://schemas.microsoft.com/office/drawing/2014/main" id="{3FEDF240-1F77-AB42-1D70-1ADA027626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4224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8180E0-1A4A-B910-2C4E-32664C16E8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A22DA36-6A5B-C0C4-9FC7-9396637E424F}"/>
              </a:ext>
            </a:extLst>
          </p:cNvPr>
          <p:cNvSpPr/>
          <p:nvPr/>
        </p:nvSpPr>
        <p:spPr>
          <a:xfrm>
            <a:off x="442759" y="1172988"/>
            <a:ext cx="7870104" cy="55288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AF26DF8-787C-A99C-A8B0-B3220A3E7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8424150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Dataset coverage</a:t>
            </a:r>
            <a:endParaRPr lang="en-US" dirty="0">
              <a:latin typeface="Trebuchet MS" panose="020B0603020202020204" pitchFamily="34" charset="0"/>
            </a:endParaRPr>
          </a:p>
        </p:txBody>
      </p:sp>
      <p:sp>
        <p:nvSpPr>
          <p:cNvPr id="21" name="Rectangle: Rounded Corners 20">
            <a:hlinkClick r:id="rId2" action="ppaction://hlinksldjump"/>
            <a:extLst>
              <a:ext uri="{FF2B5EF4-FFF2-40B4-BE49-F238E27FC236}">
                <a16:creationId xmlns:a16="http://schemas.microsoft.com/office/drawing/2014/main" id="{96754393-854E-7BDB-049C-D34738D45057}"/>
              </a:ext>
            </a:extLst>
          </p:cNvPr>
          <p:cNvSpPr/>
          <p:nvPr/>
        </p:nvSpPr>
        <p:spPr>
          <a:xfrm>
            <a:off x="10191750" y="625683"/>
            <a:ext cx="1433513" cy="46510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Build it -&gt;</a:t>
            </a:r>
          </a:p>
        </p:txBody>
      </p:sp>
      <p:sp>
        <p:nvSpPr>
          <p:cNvPr id="4" name="Rectangle: Rounded Corners 3">
            <a:hlinkClick r:id="rId3" action="ppaction://hlinksldjump"/>
            <a:extLst>
              <a:ext uri="{FF2B5EF4-FFF2-40B4-BE49-F238E27FC236}">
                <a16:creationId xmlns:a16="http://schemas.microsoft.com/office/drawing/2014/main" id="{CFDBF0EC-8257-5F70-0493-34512D8AA573}"/>
              </a:ext>
            </a:extLst>
          </p:cNvPr>
          <p:cNvSpPr/>
          <p:nvPr/>
        </p:nvSpPr>
        <p:spPr>
          <a:xfrm>
            <a:off x="8653895" y="625683"/>
            <a:ext cx="1433513" cy="46510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Build i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4F9C0FD-CC8B-4A0D-D44D-258BA5F9D858}"/>
              </a:ext>
            </a:extLst>
          </p:cNvPr>
          <p:cNvSpPr txBox="1"/>
          <p:nvPr/>
        </p:nvSpPr>
        <p:spPr>
          <a:xfrm>
            <a:off x="8357831" y="1943477"/>
            <a:ext cx="3925454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1369 sta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1.8 billion observa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Earliest record: 1948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Largest catchment: 9948km2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Smallest catchment: 0.85km2</a:t>
            </a:r>
          </a:p>
          <a:p>
            <a:endParaRPr lang="en-GB" sz="2200" dirty="0">
              <a:latin typeface="Trebuchet MS" panose="020B0603020202020204" pitchFamily="34" charset="0"/>
            </a:endParaRPr>
          </a:p>
        </p:txBody>
      </p:sp>
      <p:pic>
        <p:nvPicPr>
          <p:cNvPr id="6" name="Picture 5" descr="A screenshot of a graph&#10;&#10;AI-generated content may be incorrect.">
            <a:extLst>
              <a:ext uri="{FF2B5EF4-FFF2-40B4-BE49-F238E27FC236}">
                <a16:creationId xmlns:a16="http://schemas.microsoft.com/office/drawing/2014/main" id="{517D499A-5518-CF1C-9CAE-7050FBFF4F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728" y="1172988"/>
            <a:ext cx="7825134" cy="5415963"/>
          </a:xfrm>
          <a:prstGeom prst="rect">
            <a:avLst/>
          </a:prstGeom>
          <a:noFill/>
        </p:spPr>
      </p:pic>
      <p:sp>
        <p:nvSpPr>
          <p:cNvPr id="12" name="Rectangle: Rounded Corners 11">
            <a:hlinkClick r:id="rId2" action="ppaction://hlinksldjump"/>
            <a:extLst>
              <a:ext uri="{FF2B5EF4-FFF2-40B4-BE49-F238E27FC236}">
                <a16:creationId xmlns:a16="http://schemas.microsoft.com/office/drawing/2014/main" id="{91B88D83-5883-AC0E-951E-CDA465910CD1}"/>
              </a:ext>
            </a:extLst>
          </p:cNvPr>
          <p:cNvSpPr/>
          <p:nvPr/>
        </p:nvSpPr>
        <p:spPr>
          <a:xfrm>
            <a:off x="10191750" y="1187537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Use it-&gt;</a:t>
            </a:r>
          </a:p>
        </p:txBody>
      </p:sp>
      <p:pic>
        <p:nvPicPr>
          <p:cNvPr id="14" name="Picture 13" descr="A qr code with a white background&#10;&#10;AI-generated content may be incorrect.">
            <a:extLst>
              <a:ext uri="{FF2B5EF4-FFF2-40B4-BE49-F238E27FC236}">
                <a16:creationId xmlns:a16="http://schemas.microsoft.com/office/drawing/2014/main" id="{6320E2D1-2B02-E6F6-9618-A844FCCB70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0774" y="4943987"/>
            <a:ext cx="1080000" cy="1080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30E5DD3-950D-A471-8861-94E6E11D6D12}"/>
              </a:ext>
            </a:extLst>
          </p:cNvPr>
          <p:cNvSpPr txBox="1"/>
          <p:nvPr/>
        </p:nvSpPr>
        <p:spPr>
          <a:xfrm>
            <a:off x="8866909" y="6023987"/>
            <a:ext cx="10800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Trebuchet MS" panose="020B0603020202020204" pitchFamily="34" charset="0"/>
                <a:hlinkClick r:id="rId6"/>
              </a:rPr>
              <a:t>(Fileni et al, in review, a)</a:t>
            </a:r>
            <a:endParaRPr lang="en-GB" sz="1200" dirty="0">
              <a:latin typeface="Trebuchet MS" panose="020B0603020202020204" pitchFamily="34" charset="0"/>
            </a:endParaRPr>
          </a:p>
        </p:txBody>
      </p:sp>
      <p:sp>
        <p:nvSpPr>
          <p:cNvPr id="28" name="Footer Placeholder 53">
            <a:extLst>
              <a:ext uri="{FF2B5EF4-FFF2-40B4-BE49-F238E27FC236}">
                <a16:creationId xmlns:a16="http://schemas.microsoft.com/office/drawing/2014/main" id="{C4350B9C-E72C-8D1D-A695-DDB34CFCC3C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29" name="Rectangle: Rounded Corners 28">
            <a:hlinkClick r:id="rId7" action="ppaction://hlinksldjump"/>
            <a:extLst>
              <a:ext uri="{FF2B5EF4-FFF2-40B4-BE49-F238E27FC236}">
                <a16:creationId xmlns:a16="http://schemas.microsoft.com/office/drawing/2014/main" id="{D1E8CE6C-DCD9-B75B-4CE8-3F5F64FD9433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30" name="Rectangle: Rounded Corners 29">
            <a:hlinkClick r:id="rId8" action="ppaction://hlinksldjump"/>
            <a:extLst>
              <a:ext uri="{FF2B5EF4-FFF2-40B4-BE49-F238E27FC236}">
                <a16:creationId xmlns:a16="http://schemas.microsoft.com/office/drawing/2014/main" id="{C801ABEC-D11F-30CB-D4AE-511B47E073CB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A3A0E6B-CDC0-2CCA-C48A-C52497CFDD2D}"/>
              </a:ext>
            </a:extLst>
          </p:cNvPr>
          <p:cNvSpPr txBox="1"/>
          <p:nvPr/>
        </p:nvSpPr>
        <p:spPr>
          <a:xfrm>
            <a:off x="9027038" y="4617633"/>
            <a:ext cx="8006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Trebuchet MS" panose="020B0603020202020204" pitchFamily="34" charset="0"/>
              </a:rPr>
              <a:t>Pap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F449F4E-3037-C54C-24B0-29B0A19C4EAE}"/>
              </a:ext>
            </a:extLst>
          </p:cNvPr>
          <p:cNvSpPr txBox="1"/>
          <p:nvPr/>
        </p:nvSpPr>
        <p:spPr>
          <a:xfrm>
            <a:off x="10837507" y="4647235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Trebuchet MS" panose="020B0603020202020204" pitchFamily="34" charset="0"/>
              </a:rPr>
              <a:t>Data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6DD55F2-D906-432C-4682-241B04F9407B}"/>
              </a:ext>
            </a:extLst>
          </p:cNvPr>
          <p:cNvSpPr txBox="1"/>
          <p:nvPr/>
        </p:nvSpPr>
        <p:spPr>
          <a:xfrm>
            <a:off x="10716849" y="6023987"/>
            <a:ext cx="108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Trebuchet MS" panose="020B0603020202020204" pitchFamily="34" charset="0"/>
                <a:hlinkClick r:id="rId9"/>
              </a:rPr>
              <a:t>(Fileni et al, 2025,a)</a:t>
            </a:r>
            <a:endParaRPr lang="en-GB" sz="1200" dirty="0">
              <a:latin typeface="Trebuchet MS" panose="020B0603020202020204" pitchFamily="34" charset="0"/>
            </a:endParaRPr>
          </a:p>
        </p:txBody>
      </p:sp>
      <p:pic>
        <p:nvPicPr>
          <p:cNvPr id="37" name="Picture 36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894A8808-FD99-3FA5-C631-F30DA78A38A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6358" y="4973850"/>
            <a:ext cx="1080000" cy="1080000"/>
          </a:xfrm>
          <a:prstGeom prst="rect">
            <a:avLst/>
          </a:prstGeom>
        </p:spPr>
      </p:pic>
      <p:pic>
        <p:nvPicPr>
          <p:cNvPr id="5" name="Picture 4" descr="A blue and white logo&#10;&#10;AI-generated content may be incorrect.">
            <a:extLst>
              <a:ext uri="{FF2B5EF4-FFF2-40B4-BE49-F238E27FC236}">
                <a16:creationId xmlns:a16="http://schemas.microsoft.com/office/drawing/2014/main" id="{95420C73-8E39-7399-A1AC-F3980861CC0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2707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CC19A0-AB3A-C925-99AC-D24EFCD618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0937E4D-E6E4-ABDE-36B2-5F9FCBF38EFC}"/>
              </a:ext>
            </a:extLst>
          </p:cNvPr>
          <p:cNvSpPr/>
          <p:nvPr/>
        </p:nvSpPr>
        <p:spPr>
          <a:xfrm>
            <a:off x="5067300" y="1770546"/>
            <a:ext cx="6866218" cy="48988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284CF6B-3339-4E33-FD40-09A776A1D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8424150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Dataset structure</a:t>
            </a:r>
            <a:endParaRPr lang="en-US" dirty="0">
              <a:latin typeface="Trebuchet MS" panose="020B0603020202020204" pitchFamily="34" charset="0"/>
            </a:endParaRPr>
          </a:p>
        </p:txBody>
      </p:sp>
      <p:sp>
        <p:nvSpPr>
          <p:cNvPr id="21" name="Rectangle: Rounded Corners 20">
            <a:hlinkClick r:id="rId2" action="ppaction://hlinksldjump"/>
            <a:extLst>
              <a:ext uri="{FF2B5EF4-FFF2-40B4-BE49-F238E27FC236}">
                <a16:creationId xmlns:a16="http://schemas.microsoft.com/office/drawing/2014/main" id="{63E6FAC2-C807-9CFC-BBAB-FE09F176361D}"/>
              </a:ext>
            </a:extLst>
          </p:cNvPr>
          <p:cNvSpPr/>
          <p:nvPr/>
        </p:nvSpPr>
        <p:spPr>
          <a:xfrm>
            <a:off x="10191750" y="625683"/>
            <a:ext cx="1433513" cy="46510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Build it -&gt;</a:t>
            </a:r>
          </a:p>
        </p:txBody>
      </p:sp>
      <p:sp>
        <p:nvSpPr>
          <p:cNvPr id="4" name="Rectangle: Rounded Corners 3">
            <a:hlinkClick r:id="rId3" action="ppaction://hlinksldjump"/>
            <a:extLst>
              <a:ext uri="{FF2B5EF4-FFF2-40B4-BE49-F238E27FC236}">
                <a16:creationId xmlns:a16="http://schemas.microsoft.com/office/drawing/2014/main" id="{ACF70F2F-02F9-8C2A-B35F-72B421921290}"/>
              </a:ext>
            </a:extLst>
          </p:cNvPr>
          <p:cNvSpPr/>
          <p:nvPr/>
        </p:nvSpPr>
        <p:spPr>
          <a:xfrm>
            <a:off x="8653895" y="625683"/>
            <a:ext cx="1433513" cy="46510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Build it</a:t>
            </a:r>
          </a:p>
        </p:txBody>
      </p:sp>
      <p:pic>
        <p:nvPicPr>
          <p:cNvPr id="5" name="Picture 4" descr="A screenshot of a computer screen&#10;&#10;AI-generated content may be incorrect.">
            <a:extLst>
              <a:ext uri="{FF2B5EF4-FFF2-40B4-BE49-F238E27FC236}">
                <a16:creationId xmlns:a16="http://schemas.microsoft.com/office/drawing/2014/main" id="{2A0CE463-DBC5-A96D-6187-A94CBE4C2DB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6999" y="1776408"/>
            <a:ext cx="6695627" cy="4892958"/>
          </a:xfrm>
          <a:prstGeom prst="rect">
            <a:avLst/>
          </a:prstGeom>
          <a:noFill/>
        </p:spPr>
      </p:pic>
      <p:sp>
        <p:nvSpPr>
          <p:cNvPr id="10" name="Rectangle: Rounded Corners 9">
            <a:hlinkClick r:id="rId2" action="ppaction://hlinksldjump"/>
            <a:extLst>
              <a:ext uri="{FF2B5EF4-FFF2-40B4-BE49-F238E27FC236}">
                <a16:creationId xmlns:a16="http://schemas.microsoft.com/office/drawing/2014/main" id="{D0C5C276-2C90-A8CF-F480-EEC81F470BF1}"/>
              </a:ext>
            </a:extLst>
          </p:cNvPr>
          <p:cNvSpPr/>
          <p:nvPr/>
        </p:nvSpPr>
        <p:spPr>
          <a:xfrm>
            <a:off x="10191750" y="1187537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Use it-&gt;</a:t>
            </a:r>
          </a:p>
        </p:txBody>
      </p:sp>
      <p:sp>
        <p:nvSpPr>
          <p:cNvPr id="12" name="Rectangle: Rounded Corners 11">
            <a:hlinkClick r:id="rId3" action="ppaction://hlinksldjump"/>
            <a:extLst>
              <a:ext uri="{FF2B5EF4-FFF2-40B4-BE49-F238E27FC236}">
                <a16:creationId xmlns:a16="http://schemas.microsoft.com/office/drawing/2014/main" id="{CB97D851-6849-1643-0E03-FC8220B0F36F}"/>
              </a:ext>
            </a:extLst>
          </p:cNvPr>
          <p:cNvSpPr/>
          <p:nvPr/>
        </p:nvSpPr>
        <p:spPr>
          <a:xfrm>
            <a:off x="8653895" y="1187537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Use it</a:t>
            </a:r>
          </a:p>
        </p:txBody>
      </p:sp>
      <p:pic>
        <p:nvPicPr>
          <p:cNvPr id="13" name="Picture 12" descr="A qr code with a white background&#10;&#10;AI-generated content may be incorrect.">
            <a:extLst>
              <a:ext uri="{FF2B5EF4-FFF2-40B4-BE49-F238E27FC236}">
                <a16:creationId xmlns:a16="http://schemas.microsoft.com/office/drawing/2014/main" id="{5D9E93B0-858A-F360-7997-837D98A34F15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7000" y="5530688"/>
            <a:ext cx="1080000" cy="10800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4188C94-6F13-B3C9-4498-B8FA90C3E524}"/>
              </a:ext>
            </a:extLst>
          </p:cNvPr>
          <p:cNvSpPr txBox="1"/>
          <p:nvPr/>
        </p:nvSpPr>
        <p:spPr>
          <a:xfrm>
            <a:off x="5032189" y="6610688"/>
            <a:ext cx="19650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Trebuchet MS" panose="020B0603020202020204" pitchFamily="34" charset="0"/>
                <a:hlinkClick r:id="rId6"/>
              </a:rPr>
              <a:t>(Fileni et al, in review, a)</a:t>
            </a:r>
            <a:endParaRPr lang="en-GB" sz="1200" dirty="0">
              <a:latin typeface="Trebuchet MS" panose="020B0603020202020204" pitchFamily="34" charset="0"/>
            </a:endParaRPr>
          </a:p>
        </p:txBody>
      </p:sp>
      <p:sp>
        <p:nvSpPr>
          <p:cNvPr id="26" name="Footer Placeholder 53">
            <a:extLst>
              <a:ext uri="{FF2B5EF4-FFF2-40B4-BE49-F238E27FC236}">
                <a16:creationId xmlns:a16="http://schemas.microsoft.com/office/drawing/2014/main" id="{72DD3D9B-3C4F-AED3-4A51-1155B2920EB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27" name="Rectangle: Rounded Corners 26">
            <a:hlinkClick r:id="rId7" action="ppaction://hlinksldjump"/>
            <a:extLst>
              <a:ext uri="{FF2B5EF4-FFF2-40B4-BE49-F238E27FC236}">
                <a16:creationId xmlns:a16="http://schemas.microsoft.com/office/drawing/2014/main" id="{08172A8D-D988-54C7-BB10-01065D9F3B60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28" name="Rectangle: Rounded Corners 27">
            <a:hlinkClick r:id="rId8" action="ppaction://hlinksldjump"/>
            <a:extLst>
              <a:ext uri="{FF2B5EF4-FFF2-40B4-BE49-F238E27FC236}">
                <a16:creationId xmlns:a16="http://schemas.microsoft.com/office/drawing/2014/main" id="{B4D16D95-CD6B-0AFF-CEFF-EC8CC3A825DD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7A2CABA-53ED-94B3-7CB3-9EF40EAE9BD7}"/>
              </a:ext>
            </a:extLst>
          </p:cNvPr>
          <p:cNvSpPr txBox="1"/>
          <p:nvPr/>
        </p:nvSpPr>
        <p:spPr>
          <a:xfrm>
            <a:off x="218906" y="1440042"/>
            <a:ext cx="4673584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200" b="1" dirty="0">
                <a:latin typeface="Trebuchet MS" panose="020B0603020202020204" pitchFamily="34" charset="0"/>
              </a:rPr>
              <a:t>Time series (core data)</a:t>
            </a:r>
            <a:endParaRPr lang="en-GB" sz="2200" dirty="0">
              <a:latin typeface="Trebuchet MS" panose="020B0603020202020204" pitchFamily="34" charset="0"/>
            </a:endParaRPr>
          </a:p>
          <a:p>
            <a:r>
              <a:rPr lang="en-GB" sz="2200" b="1" dirty="0">
                <a:latin typeface="Trebuchet MS" panose="020B0603020202020204" pitchFamily="34" charset="0"/>
              </a:rPr>
              <a:t>Datetime: </a:t>
            </a:r>
            <a:r>
              <a:rPr lang="en-GB" sz="2200" dirty="0">
                <a:latin typeface="Trebuchet MS" panose="020B0603020202020204" pitchFamily="34" charset="0"/>
              </a:rPr>
              <a:t>timestamp </a:t>
            </a:r>
          </a:p>
          <a:p>
            <a:r>
              <a:rPr lang="en-GB" sz="2200" b="1" dirty="0">
                <a:latin typeface="Trebuchet MS" panose="020B0603020202020204" pitchFamily="34" charset="0"/>
              </a:rPr>
              <a:t>Value:</a:t>
            </a:r>
            <a:r>
              <a:rPr lang="en-GB" sz="2200" dirty="0">
                <a:latin typeface="Trebuchet MS" panose="020B0603020202020204" pitchFamily="34" charset="0"/>
              </a:rPr>
              <a:t> river flow (m³/s) </a:t>
            </a:r>
          </a:p>
          <a:p>
            <a:r>
              <a:rPr lang="en-GB" sz="2200" b="1" dirty="0">
                <a:latin typeface="Trebuchet MS" panose="020B0603020202020204" pitchFamily="34" charset="0"/>
              </a:rPr>
              <a:t>Resolution:</a:t>
            </a:r>
            <a:r>
              <a:rPr lang="en-GB" sz="2200" dirty="0">
                <a:latin typeface="Trebuchet MS" panose="020B0603020202020204" pitchFamily="34" charset="0"/>
              </a:rPr>
              <a:t> native data timestep </a:t>
            </a:r>
          </a:p>
          <a:p>
            <a:r>
              <a:rPr lang="en-GB" sz="2200" b="1" dirty="0" err="1">
                <a:latin typeface="Trebuchet MS" panose="020B0603020202020204" pitchFamily="34" charset="0"/>
              </a:rPr>
              <a:t>QC_code</a:t>
            </a:r>
            <a:r>
              <a:rPr lang="en-GB" sz="2200" b="1" dirty="0">
                <a:latin typeface="Trebuchet MS" panose="020B0603020202020204" pitchFamily="34" charset="0"/>
              </a:rPr>
              <a:t>: </a:t>
            </a:r>
            <a:r>
              <a:rPr lang="en-GB" sz="2200" dirty="0">
                <a:latin typeface="Trebuchet MS" panose="020B0603020202020204" pitchFamily="34" charset="0"/>
              </a:rPr>
              <a:t>outcome of quality control checks</a:t>
            </a:r>
          </a:p>
          <a:p>
            <a:endParaRPr lang="en-GB" sz="2200" dirty="0">
              <a:latin typeface="Trebuchet MS" panose="020B0603020202020204" pitchFamily="34" charset="0"/>
            </a:endParaRPr>
          </a:p>
          <a:p>
            <a:pPr algn="ctr"/>
            <a:r>
              <a:rPr lang="en-GB" sz="2200" b="1" dirty="0">
                <a:latin typeface="Trebuchet MS" panose="020B0603020202020204" pitchFamily="34" charset="0"/>
              </a:rPr>
              <a:t>Metadata (7 files for full transparency)</a:t>
            </a:r>
            <a:endParaRPr lang="en-GB" sz="2200" dirty="0">
              <a:latin typeface="Trebuchet MS" panose="020B0603020202020204" pitchFamily="34" charset="0"/>
            </a:endParaRPr>
          </a:p>
          <a:p>
            <a:r>
              <a:rPr lang="en-GB" sz="2200" b="1" dirty="0">
                <a:latin typeface="Trebuchet MS" panose="020B0603020202020204" pitchFamily="34" charset="0"/>
              </a:rPr>
              <a:t>Identification metadata:</a:t>
            </a:r>
            <a:r>
              <a:rPr lang="en-GB" sz="2200" dirty="0">
                <a:latin typeface="Trebuchet MS" panose="020B0603020202020204" pitchFamily="34" charset="0"/>
              </a:rPr>
              <a:t> station info, location, source </a:t>
            </a:r>
          </a:p>
          <a:p>
            <a:r>
              <a:rPr lang="en-GB" sz="2200" b="1" dirty="0">
                <a:latin typeface="Trebuchet MS" panose="020B0603020202020204" pitchFamily="34" charset="0"/>
              </a:rPr>
              <a:t>Quality control metadata:</a:t>
            </a:r>
            <a:r>
              <a:rPr lang="en-GB" sz="2200" dirty="0">
                <a:latin typeface="Trebuchet MS" panose="020B0603020202020204" pitchFamily="34" charset="0"/>
              </a:rPr>
              <a:t> flags, checks, detected issues </a:t>
            </a:r>
          </a:p>
          <a:p>
            <a:r>
              <a:rPr lang="en-GB" sz="2200" b="1" dirty="0">
                <a:latin typeface="Trebuchet MS" panose="020B0603020202020204" pitchFamily="34" charset="0"/>
              </a:rPr>
              <a:t>Traceability metadata:</a:t>
            </a:r>
            <a:r>
              <a:rPr lang="en-GB" sz="2200" dirty="0">
                <a:latin typeface="Trebuchet MS" panose="020B0603020202020204" pitchFamily="34" charset="0"/>
              </a:rPr>
              <a:t> full record of processing decisions</a:t>
            </a:r>
          </a:p>
        </p:txBody>
      </p:sp>
      <p:pic>
        <p:nvPicPr>
          <p:cNvPr id="6" name="Picture 5" descr="A blue and white logo&#10;&#10;AI-generated content may be incorrect.">
            <a:extLst>
              <a:ext uri="{FF2B5EF4-FFF2-40B4-BE49-F238E27FC236}">
                <a16:creationId xmlns:a16="http://schemas.microsoft.com/office/drawing/2014/main" id="{466A63E4-989B-3F53-5430-26E2E604767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3564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C693B-DEE6-223A-67E0-4A88A5B09E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7978DCA-E4CE-0E87-958B-5E057E103657}"/>
              </a:ext>
            </a:extLst>
          </p:cNvPr>
          <p:cNvSpPr/>
          <p:nvPr/>
        </p:nvSpPr>
        <p:spPr>
          <a:xfrm>
            <a:off x="442759" y="1187537"/>
            <a:ext cx="5810259" cy="55288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CA63E8E-F2B0-CC29-15C6-51F4C9F2D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8424150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Visual Quality Control</a:t>
            </a:r>
            <a:endParaRPr lang="en-US" dirty="0">
              <a:latin typeface="Trebuchet MS" panose="020B0603020202020204" pitchFamily="34" charset="0"/>
            </a:endParaRPr>
          </a:p>
        </p:txBody>
      </p:sp>
      <p:sp>
        <p:nvSpPr>
          <p:cNvPr id="21" name="Rectangle: Rounded Corners 20">
            <a:hlinkClick r:id="rId2" action="ppaction://hlinksldjump"/>
            <a:extLst>
              <a:ext uri="{FF2B5EF4-FFF2-40B4-BE49-F238E27FC236}">
                <a16:creationId xmlns:a16="http://schemas.microsoft.com/office/drawing/2014/main" id="{D1F75587-9BCE-724F-35D2-DAA81C54F8ED}"/>
              </a:ext>
            </a:extLst>
          </p:cNvPr>
          <p:cNvSpPr/>
          <p:nvPr/>
        </p:nvSpPr>
        <p:spPr>
          <a:xfrm>
            <a:off x="10191750" y="625683"/>
            <a:ext cx="1433513" cy="46510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Build it -&gt;</a:t>
            </a:r>
          </a:p>
        </p:txBody>
      </p:sp>
      <p:sp>
        <p:nvSpPr>
          <p:cNvPr id="4" name="Rectangle: Rounded Corners 3">
            <a:hlinkClick r:id="rId3" action="ppaction://hlinksldjump"/>
            <a:extLst>
              <a:ext uri="{FF2B5EF4-FFF2-40B4-BE49-F238E27FC236}">
                <a16:creationId xmlns:a16="http://schemas.microsoft.com/office/drawing/2014/main" id="{C2F4071B-7250-D045-C68D-FC8EC7FB7CE7}"/>
              </a:ext>
            </a:extLst>
          </p:cNvPr>
          <p:cNvSpPr/>
          <p:nvPr/>
        </p:nvSpPr>
        <p:spPr>
          <a:xfrm>
            <a:off x="8653895" y="625683"/>
            <a:ext cx="1433513" cy="46510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Build it</a:t>
            </a:r>
          </a:p>
        </p:txBody>
      </p:sp>
      <p:pic>
        <p:nvPicPr>
          <p:cNvPr id="5" name="Picture 4" descr="A screenshot of a graph&#10;&#10;AI-generated content may be incorrect.">
            <a:extLst>
              <a:ext uri="{FF2B5EF4-FFF2-40B4-BE49-F238E27FC236}">
                <a16:creationId xmlns:a16="http://schemas.microsoft.com/office/drawing/2014/main" id="{9E247FE9-5616-66F2-0EBE-BB0EDB7312E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512" y="1227765"/>
            <a:ext cx="5569488" cy="5486150"/>
          </a:xfrm>
          <a:prstGeom prst="rect">
            <a:avLst/>
          </a:prstGeom>
          <a:noFill/>
        </p:spPr>
      </p:pic>
      <p:sp>
        <p:nvSpPr>
          <p:cNvPr id="11" name="Rectangle: Rounded Corners 10">
            <a:hlinkClick r:id="rId2" action="ppaction://hlinksldjump"/>
            <a:extLst>
              <a:ext uri="{FF2B5EF4-FFF2-40B4-BE49-F238E27FC236}">
                <a16:creationId xmlns:a16="http://schemas.microsoft.com/office/drawing/2014/main" id="{2A5B1DFA-37F6-D158-7889-320F363A864A}"/>
              </a:ext>
            </a:extLst>
          </p:cNvPr>
          <p:cNvSpPr/>
          <p:nvPr/>
        </p:nvSpPr>
        <p:spPr>
          <a:xfrm>
            <a:off x="10191750" y="1187537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Use it-&gt;</a:t>
            </a:r>
          </a:p>
        </p:txBody>
      </p:sp>
      <p:sp>
        <p:nvSpPr>
          <p:cNvPr id="12" name="Rectangle: Rounded Corners 11">
            <a:hlinkClick r:id="rId3" action="ppaction://hlinksldjump"/>
            <a:extLst>
              <a:ext uri="{FF2B5EF4-FFF2-40B4-BE49-F238E27FC236}">
                <a16:creationId xmlns:a16="http://schemas.microsoft.com/office/drawing/2014/main" id="{0EBDEC30-5E06-3B09-1EE2-03B4249489D0}"/>
              </a:ext>
            </a:extLst>
          </p:cNvPr>
          <p:cNvSpPr/>
          <p:nvPr/>
        </p:nvSpPr>
        <p:spPr>
          <a:xfrm>
            <a:off x="8653895" y="1187537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Use it</a:t>
            </a:r>
          </a:p>
        </p:txBody>
      </p:sp>
      <p:pic>
        <p:nvPicPr>
          <p:cNvPr id="14" name="Picture 13" descr="A qr code with black squares&#10;&#10;AI-generated content may be incorrect.">
            <a:extLst>
              <a:ext uri="{FF2B5EF4-FFF2-40B4-BE49-F238E27FC236}">
                <a16:creationId xmlns:a16="http://schemas.microsoft.com/office/drawing/2014/main" id="{BE7101A4-2D77-8F74-BC2C-B5341A84CC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627" y="4939948"/>
            <a:ext cx="1080000" cy="1080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5839B67-B724-380F-3D84-303CD36A05CB}"/>
              </a:ext>
            </a:extLst>
          </p:cNvPr>
          <p:cNvSpPr txBox="1"/>
          <p:nvPr/>
        </p:nvSpPr>
        <p:spPr>
          <a:xfrm>
            <a:off x="10822627" y="6019948"/>
            <a:ext cx="10518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Trebuchet MS" panose="020B0603020202020204" pitchFamily="34" charset="0"/>
                <a:hlinkClick r:id="rId6"/>
              </a:rPr>
              <a:t>(Fileni et al., in review, b)</a:t>
            </a:r>
            <a:endParaRPr lang="en-GB" sz="1200" dirty="0">
              <a:latin typeface="Trebuchet MS" panose="020B0603020202020204" pitchFamily="34" charset="0"/>
            </a:endParaRPr>
          </a:p>
        </p:txBody>
      </p:sp>
      <p:sp>
        <p:nvSpPr>
          <p:cNvPr id="27" name="Footer Placeholder 53">
            <a:extLst>
              <a:ext uri="{FF2B5EF4-FFF2-40B4-BE49-F238E27FC236}">
                <a16:creationId xmlns:a16="http://schemas.microsoft.com/office/drawing/2014/main" id="{DC60D9A3-AABD-BA3C-4FF7-F8C2A7571F2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28" name="Rectangle: Rounded Corners 27">
            <a:hlinkClick r:id="rId7" action="ppaction://hlinksldjump"/>
            <a:extLst>
              <a:ext uri="{FF2B5EF4-FFF2-40B4-BE49-F238E27FC236}">
                <a16:creationId xmlns:a16="http://schemas.microsoft.com/office/drawing/2014/main" id="{35FF08C7-E18B-7A65-3B77-77E06804A8CA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29" name="Rectangle: Rounded Corners 28">
            <a:hlinkClick r:id="rId8" action="ppaction://hlinksldjump"/>
            <a:extLst>
              <a:ext uri="{FF2B5EF4-FFF2-40B4-BE49-F238E27FC236}">
                <a16:creationId xmlns:a16="http://schemas.microsoft.com/office/drawing/2014/main" id="{5BCFB4CC-1B12-7A6D-C45D-CCCB18585F15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B51F865-E073-8B51-DA79-28308D86C7E5}"/>
              </a:ext>
            </a:extLst>
          </p:cNvPr>
          <p:cNvSpPr txBox="1"/>
          <p:nvPr/>
        </p:nvSpPr>
        <p:spPr>
          <a:xfrm>
            <a:off x="6368915" y="1859339"/>
            <a:ext cx="538032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Automated checks flag anomalies, but cannot always confirm their valid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200" dirty="0"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Visual inspection helps distinguish real hydrological events from artefa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200" dirty="0"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dirty="0">
                <a:latin typeface="Trebuchet MS" panose="020B0603020202020204" pitchFamily="34" charset="0"/>
              </a:rPr>
              <a:t>Essential for identifying issues such as rating curve shifts, truncations, and timing errors</a:t>
            </a:r>
          </a:p>
        </p:txBody>
      </p:sp>
      <p:pic>
        <p:nvPicPr>
          <p:cNvPr id="3" name="Picture 2" descr="A blue and white logo&#10;&#10;AI-generated content may be incorrect.">
            <a:extLst>
              <a:ext uri="{FF2B5EF4-FFF2-40B4-BE49-F238E27FC236}">
                <a16:creationId xmlns:a16="http://schemas.microsoft.com/office/drawing/2014/main" id="{2D606E86-C914-0163-5879-6C60385A6F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2767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B78E3D-671C-3565-1827-DD4494167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ACCAAD1-BC36-67AB-5BDC-94D41AF667BC}"/>
              </a:ext>
            </a:extLst>
          </p:cNvPr>
          <p:cNvSpPr/>
          <p:nvPr/>
        </p:nvSpPr>
        <p:spPr>
          <a:xfrm>
            <a:off x="6317673" y="3485763"/>
            <a:ext cx="5874327" cy="33722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9" descr="A map of a road with a rain cloud and black dots&#10;&#10;AI-generated content may be incorrect.">
            <a:extLst>
              <a:ext uri="{FF2B5EF4-FFF2-40B4-BE49-F238E27FC236}">
                <a16:creationId xmlns:a16="http://schemas.microsoft.com/office/drawing/2014/main" id="{E2536E37-DFE2-8D31-207F-ED7583FAFCB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0288" y="3567965"/>
            <a:ext cx="5800725" cy="3265805"/>
          </a:xfrm>
          <a:prstGeom prst="rect">
            <a:avLst/>
          </a:prstGeom>
          <a:noFill/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43DFFB7-32B8-55C8-AA80-E5E93D4201AB}"/>
              </a:ext>
            </a:extLst>
          </p:cNvPr>
          <p:cNvSpPr/>
          <p:nvPr/>
        </p:nvSpPr>
        <p:spPr>
          <a:xfrm>
            <a:off x="138545" y="1172988"/>
            <a:ext cx="7832437" cy="303219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2566A42-AEDE-2AA9-BCFA-65EBAE024E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59" y="576000"/>
            <a:ext cx="8424150" cy="465103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Statistical Quality Control</a:t>
            </a:r>
            <a:endParaRPr lang="en-US" dirty="0">
              <a:latin typeface="Trebuchet MS" panose="020B0603020202020204" pitchFamily="34" charset="0"/>
            </a:endParaRPr>
          </a:p>
        </p:txBody>
      </p:sp>
      <p:sp>
        <p:nvSpPr>
          <p:cNvPr id="21" name="Rectangle: Rounded Corners 20">
            <a:hlinkClick r:id="rId3" action="ppaction://hlinksldjump"/>
            <a:extLst>
              <a:ext uri="{FF2B5EF4-FFF2-40B4-BE49-F238E27FC236}">
                <a16:creationId xmlns:a16="http://schemas.microsoft.com/office/drawing/2014/main" id="{441A7DE8-BE4A-FD25-021A-0D4CDBBF0556}"/>
              </a:ext>
            </a:extLst>
          </p:cNvPr>
          <p:cNvSpPr/>
          <p:nvPr/>
        </p:nvSpPr>
        <p:spPr>
          <a:xfrm>
            <a:off x="10191750" y="625683"/>
            <a:ext cx="1433513" cy="46510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Build it -&gt;</a:t>
            </a:r>
          </a:p>
        </p:txBody>
      </p:sp>
      <p:sp>
        <p:nvSpPr>
          <p:cNvPr id="4" name="Rectangle: Rounded Corners 3">
            <a:hlinkClick r:id="rId4" action="ppaction://hlinksldjump"/>
            <a:extLst>
              <a:ext uri="{FF2B5EF4-FFF2-40B4-BE49-F238E27FC236}">
                <a16:creationId xmlns:a16="http://schemas.microsoft.com/office/drawing/2014/main" id="{30CBF020-98B4-563A-DCB3-DE8C0D562211}"/>
              </a:ext>
            </a:extLst>
          </p:cNvPr>
          <p:cNvSpPr/>
          <p:nvPr/>
        </p:nvSpPr>
        <p:spPr>
          <a:xfrm>
            <a:off x="8653895" y="625683"/>
            <a:ext cx="1433513" cy="46510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Build it</a:t>
            </a:r>
          </a:p>
        </p:txBody>
      </p:sp>
      <p:pic>
        <p:nvPicPr>
          <p:cNvPr id="5" name="Picture 4" descr="A collage of graphs&#10;&#10;AI-generated content may be incorrect.">
            <a:extLst>
              <a:ext uri="{FF2B5EF4-FFF2-40B4-BE49-F238E27FC236}">
                <a16:creationId xmlns:a16="http://schemas.microsoft.com/office/drawing/2014/main" id="{196E58CD-CEA5-24D6-BE55-82DBDF6EBA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991" y="1213216"/>
            <a:ext cx="7535660" cy="2859698"/>
          </a:xfrm>
          <a:prstGeom prst="rect">
            <a:avLst/>
          </a:prstGeom>
        </p:spPr>
      </p:pic>
      <p:sp>
        <p:nvSpPr>
          <p:cNvPr id="12" name="Rectangle: Rounded Corners 11">
            <a:hlinkClick r:id="rId6" action="ppaction://hlinksldjump"/>
            <a:extLst>
              <a:ext uri="{FF2B5EF4-FFF2-40B4-BE49-F238E27FC236}">
                <a16:creationId xmlns:a16="http://schemas.microsoft.com/office/drawing/2014/main" id="{8A28A6CF-7532-DEBE-0B50-7BA279C63398}"/>
              </a:ext>
            </a:extLst>
          </p:cNvPr>
          <p:cNvSpPr/>
          <p:nvPr/>
        </p:nvSpPr>
        <p:spPr>
          <a:xfrm>
            <a:off x="10191750" y="1187537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Use it-&gt;</a:t>
            </a:r>
          </a:p>
        </p:txBody>
      </p:sp>
      <p:sp>
        <p:nvSpPr>
          <p:cNvPr id="13" name="Rectangle: Rounded Corners 12">
            <a:hlinkClick r:id="rId4" action="ppaction://hlinksldjump"/>
            <a:extLst>
              <a:ext uri="{FF2B5EF4-FFF2-40B4-BE49-F238E27FC236}">
                <a16:creationId xmlns:a16="http://schemas.microsoft.com/office/drawing/2014/main" id="{C428984E-9EC7-A2BD-6386-27C41BC30A12}"/>
              </a:ext>
            </a:extLst>
          </p:cNvPr>
          <p:cNvSpPr/>
          <p:nvPr/>
        </p:nvSpPr>
        <p:spPr>
          <a:xfrm>
            <a:off x="8653895" y="1187537"/>
            <a:ext cx="1433513" cy="465103"/>
          </a:xfrm>
          <a:prstGeom prst="round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&lt;- Use it</a:t>
            </a:r>
          </a:p>
        </p:txBody>
      </p:sp>
      <p:pic>
        <p:nvPicPr>
          <p:cNvPr id="14" name="Picture 13" descr="A qr code with black squares&#10;&#10;AI-generated content may be incorrect.">
            <a:extLst>
              <a:ext uri="{FF2B5EF4-FFF2-40B4-BE49-F238E27FC236}">
                <a16:creationId xmlns:a16="http://schemas.microsoft.com/office/drawing/2014/main" id="{65749C37-8748-1D87-06E4-28F5D414A56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9531" y="2040283"/>
            <a:ext cx="1080000" cy="1080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C4B24B1-2AA1-A20E-8BC8-2BE20ECCA6F9}"/>
              </a:ext>
            </a:extLst>
          </p:cNvPr>
          <p:cNvSpPr txBox="1"/>
          <p:nvPr/>
        </p:nvSpPr>
        <p:spPr>
          <a:xfrm>
            <a:off x="8569531" y="3120283"/>
            <a:ext cx="1213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Trebuchet MS" panose="020B0603020202020204" pitchFamily="34" charset="0"/>
                <a:hlinkClick r:id="rId8"/>
              </a:rPr>
              <a:t>(Fileni et al., in review, b)</a:t>
            </a:r>
            <a:endParaRPr lang="en-GB" sz="1200" dirty="0">
              <a:latin typeface="Trebuchet MS" panose="020B0603020202020204" pitchFamily="34" charset="0"/>
            </a:endParaRPr>
          </a:p>
        </p:txBody>
      </p:sp>
      <p:sp>
        <p:nvSpPr>
          <p:cNvPr id="27" name="Footer Placeholder 53">
            <a:extLst>
              <a:ext uri="{FF2B5EF4-FFF2-40B4-BE49-F238E27FC236}">
                <a16:creationId xmlns:a16="http://schemas.microsoft.com/office/drawing/2014/main" id="{B0E8502B-B907-30C0-6A03-9EFCC6A9E4E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890203" y="96185"/>
            <a:ext cx="9093200" cy="288000"/>
          </a:xfrm>
        </p:spPr>
        <p:txBody>
          <a:bodyPr/>
          <a:lstStyle/>
          <a:p>
            <a:r>
              <a:rPr lang="en-GB" dirty="0">
                <a:latin typeface="Trebuchet MS" panose="020B0603020202020204" pitchFamily="34" charset="0"/>
              </a:rPr>
              <a:t>EGU2026 – HS 2.2.6 - LSH</a:t>
            </a:r>
          </a:p>
        </p:txBody>
      </p:sp>
      <p:sp>
        <p:nvSpPr>
          <p:cNvPr id="28" name="Rectangle: Rounded Corners 27">
            <a:hlinkClick r:id="rId9" action="ppaction://hlinksldjump"/>
            <a:extLst>
              <a:ext uri="{FF2B5EF4-FFF2-40B4-BE49-F238E27FC236}">
                <a16:creationId xmlns:a16="http://schemas.microsoft.com/office/drawing/2014/main" id="{47F6922C-3813-5872-9FE8-B285E4D11D2E}"/>
              </a:ext>
            </a:extLst>
          </p:cNvPr>
          <p:cNvSpPr/>
          <p:nvPr/>
        </p:nvSpPr>
        <p:spPr>
          <a:xfrm>
            <a:off x="7075919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Home</a:t>
            </a:r>
          </a:p>
        </p:txBody>
      </p:sp>
      <p:sp>
        <p:nvSpPr>
          <p:cNvPr id="29" name="Rectangle: Rounded Corners 28">
            <a:hlinkClick r:id="rId10" action="ppaction://hlinksldjump"/>
            <a:extLst>
              <a:ext uri="{FF2B5EF4-FFF2-40B4-BE49-F238E27FC236}">
                <a16:creationId xmlns:a16="http://schemas.microsoft.com/office/drawing/2014/main" id="{32C312B8-E3CB-5387-3D11-A7523615A43E}"/>
              </a:ext>
            </a:extLst>
          </p:cNvPr>
          <p:cNvSpPr/>
          <p:nvPr/>
        </p:nvSpPr>
        <p:spPr>
          <a:xfrm>
            <a:off x="8653895" y="15267"/>
            <a:ext cx="1433513" cy="46510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Trebuchet MS" panose="020B0603020202020204" pitchFamily="34" charset="0"/>
              </a:rPr>
              <a:t>Explore it!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00FC4B8-063E-A3AC-D6C1-3D7D9D59FBAA}"/>
              </a:ext>
            </a:extLst>
          </p:cNvPr>
          <p:cNvSpPr txBox="1"/>
          <p:nvPr/>
        </p:nvSpPr>
        <p:spPr>
          <a:xfrm>
            <a:off x="429428" y="4977592"/>
            <a:ext cx="5274686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GB" sz="2200" dirty="0">
                <a:latin typeface="Trebuchet MS" panose="020B0603020202020204" pitchFamily="34" charset="0"/>
              </a:rPr>
              <a:t>Automated statistical QC enables consistent, scalable detection of anomalies at national-scale dataset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78D29E9-6346-992F-D4E9-48FAA96DE9FA}"/>
              </a:ext>
            </a:extLst>
          </p:cNvPr>
          <p:cNvSpPr txBox="1"/>
          <p:nvPr/>
        </p:nvSpPr>
        <p:spPr>
          <a:xfrm>
            <a:off x="8695795" y="1709435"/>
            <a:ext cx="7685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Trebuchet MS" panose="020B0603020202020204" pitchFamily="34" charset="0"/>
              </a:rPr>
              <a:t>Pap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5A5E929-4119-B792-1FDC-A796D1E32BCD}"/>
              </a:ext>
            </a:extLst>
          </p:cNvPr>
          <p:cNvSpPr txBox="1"/>
          <p:nvPr/>
        </p:nvSpPr>
        <p:spPr>
          <a:xfrm>
            <a:off x="10455301" y="1767940"/>
            <a:ext cx="9028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Trebuchet MS" panose="020B0603020202020204" pitchFamily="34" charset="0"/>
              </a:rPr>
              <a:t>GitHub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3587B75-7940-80B0-84F7-C0B0F8F48567}"/>
              </a:ext>
            </a:extLst>
          </p:cNvPr>
          <p:cNvSpPr txBox="1"/>
          <p:nvPr/>
        </p:nvSpPr>
        <p:spPr>
          <a:xfrm>
            <a:off x="10575527" y="3120283"/>
            <a:ext cx="6751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latin typeface="Trebuchet MS" panose="020B0603020202020204" pitchFamily="34" charset="0"/>
                <a:hlinkClick r:id="rId11"/>
              </a:rPr>
              <a:t>(Fileni)</a:t>
            </a:r>
            <a:endParaRPr lang="en-GB" sz="1200" dirty="0">
              <a:latin typeface="Trebuchet MS" panose="020B0603020202020204" pitchFamily="34" charset="0"/>
            </a:endParaRPr>
          </a:p>
        </p:txBody>
      </p:sp>
      <p:pic>
        <p:nvPicPr>
          <p:cNvPr id="36" name="Picture 35" descr="A qr code with black squares&#10;&#10;AI-generated content may be incorrect.">
            <a:extLst>
              <a:ext uri="{FF2B5EF4-FFF2-40B4-BE49-F238E27FC236}">
                <a16:creationId xmlns:a16="http://schemas.microsoft.com/office/drawing/2014/main" id="{3F815B80-8FD2-380B-02C7-DEB67CB21F0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6707" y="2103065"/>
            <a:ext cx="1080000" cy="1080000"/>
          </a:xfrm>
          <a:prstGeom prst="rect">
            <a:avLst/>
          </a:prstGeom>
        </p:spPr>
      </p:pic>
      <p:pic>
        <p:nvPicPr>
          <p:cNvPr id="3" name="Picture 2" descr="A blue and white logo&#10;&#10;AI-generated content may be incorrect.">
            <a:extLst>
              <a:ext uri="{FF2B5EF4-FFF2-40B4-BE49-F238E27FC236}">
                <a16:creationId xmlns:a16="http://schemas.microsoft.com/office/drawing/2014/main" id="{DC8C9F2F-66B3-EB2F-6F85-C876F7F1C9F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293" y="110109"/>
            <a:ext cx="1227364" cy="35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0309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1"/>
</p:tagLst>
</file>

<file path=ppt/theme/theme1.xml><?xml version="1.0" encoding="utf-8"?>
<a:theme xmlns:a="http://schemas.openxmlformats.org/drawingml/2006/main" name="Office Theme">
  <a:themeElements>
    <a:clrScheme name="UKCEH">
      <a:dk1>
        <a:sysClr val="windowText" lastClr="000000"/>
      </a:dk1>
      <a:lt1>
        <a:sysClr val="window" lastClr="FFFFFF"/>
      </a:lt1>
      <a:dk2>
        <a:srgbClr val="DBFE52"/>
      </a:dk2>
      <a:lt2>
        <a:srgbClr val="D6EAE6"/>
      </a:lt2>
      <a:accent1>
        <a:srgbClr val="90A968"/>
      </a:accent1>
      <a:accent2>
        <a:srgbClr val="477AE2"/>
      </a:accent2>
      <a:accent3>
        <a:srgbClr val="EBDBD5"/>
      </a:accent3>
      <a:accent4>
        <a:srgbClr val="D1DEF8"/>
      </a:accent4>
      <a:accent5>
        <a:srgbClr val="D3DDC3"/>
      </a:accent5>
      <a:accent6>
        <a:srgbClr val="878787"/>
      </a:accent6>
      <a:hlink>
        <a:srgbClr val="90A968"/>
      </a:hlink>
      <a:folHlink>
        <a:srgbClr val="477AE2"/>
      </a:folHlink>
    </a:clrScheme>
    <a:fontScheme name="Custom 75">
      <a:majorFont>
        <a:latin typeface="UKCEH Suisse"/>
        <a:ea typeface=""/>
        <a:cs typeface=""/>
      </a:majorFont>
      <a:minorFont>
        <a:latin typeface="UKCEH Suiss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DR Light Cyan 1">
      <a:srgbClr val="99F5FD"/>
    </a:custClr>
    <a:custClr name="DR Light Violet">
      <a:srgbClr val="C999F7"/>
    </a:custClr>
    <a:custClr name="DR Light Amber">
      <a:srgbClr val="FEEC99"/>
    </a:custClr>
    <a:custClr name="DR Light Green">
      <a:srgbClr val="99EFCB"/>
    </a:custClr>
    <a:custClr name="DR Light Blue">
      <a:srgbClr val="8AAEFF"/>
    </a:custClr>
    <a:custClr name="DR Light Slate Grey">
      <a:srgbClr val="9AB5B9"/>
    </a:custClr>
    <a:custClr name="DR Light Grey">
      <a:srgbClr val="C7C8CA"/>
    </a:custClr>
    <a:custClr name="DR Mid Grey">
      <a:srgbClr val="808080"/>
    </a:custClr>
  </a:custClrLst>
  <a:extLst>
    <a:ext uri="{05A4C25C-085E-4340-85A3-A5531E510DB2}">
      <thm15:themeFamily xmlns:thm15="http://schemas.microsoft.com/office/thememl/2012/main" name="260113_UKCEH_Template_LB06" id="{4161CE28-D829-4D18-9F96-8C77126CFA36}" vid="{92FBD444-0133-4FE0-9055-11E581419404}"/>
    </a:ext>
  </a:extLst>
</a:theme>
</file>

<file path=ppt/theme/theme2.xml><?xml version="1.0" encoding="utf-8"?>
<a:theme xmlns:a="http://schemas.openxmlformats.org/drawingml/2006/main" name="+Partner Logos">
  <a:themeElements>
    <a:clrScheme name="UKCEH">
      <a:dk1>
        <a:sysClr val="windowText" lastClr="000000"/>
      </a:dk1>
      <a:lt1>
        <a:sysClr val="window" lastClr="FFFFFF"/>
      </a:lt1>
      <a:dk2>
        <a:srgbClr val="DBFE52"/>
      </a:dk2>
      <a:lt2>
        <a:srgbClr val="D6EAE6"/>
      </a:lt2>
      <a:accent1>
        <a:srgbClr val="90A968"/>
      </a:accent1>
      <a:accent2>
        <a:srgbClr val="477AE2"/>
      </a:accent2>
      <a:accent3>
        <a:srgbClr val="EBDBD5"/>
      </a:accent3>
      <a:accent4>
        <a:srgbClr val="D1DEF8"/>
      </a:accent4>
      <a:accent5>
        <a:srgbClr val="D3DDC3"/>
      </a:accent5>
      <a:accent6>
        <a:srgbClr val="878787"/>
      </a:accent6>
      <a:hlink>
        <a:srgbClr val="90A968"/>
      </a:hlink>
      <a:folHlink>
        <a:srgbClr val="477AE2"/>
      </a:folHlink>
    </a:clrScheme>
    <a:fontScheme name="Custom 75">
      <a:majorFont>
        <a:latin typeface="UKCEH Suisse"/>
        <a:ea typeface=""/>
        <a:cs typeface=""/>
      </a:majorFont>
      <a:minorFont>
        <a:latin typeface="UKCEH Suiss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DR Light Cyan 1">
      <a:srgbClr val="99F5FD"/>
    </a:custClr>
    <a:custClr name="DR Light Violet">
      <a:srgbClr val="C999F7"/>
    </a:custClr>
    <a:custClr name="DR Light Amber">
      <a:srgbClr val="FEEC99"/>
    </a:custClr>
    <a:custClr name="DR Light Green">
      <a:srgbClr val="99EFCB"/>
    </a:custClr>
    <a:custClr name="DR Light Blue">
      <a:srgbClr val="8AAEFF"/>
    </a:custClr>
    <a:custClr name="DR Light Slate Grey">
      <a:srgbClr val="9AB5B9"/>
    </a:custClr>
    <a:custClr name="DR Light Grey">
      <a:srgbClr val="C7C8CA"/>
    </a:custClr>
    <a:custClr name="DR Mid Grey">
      <a:srgbClr val="808080"/>
    </a:custClr>
  </a:custClrLst>
  <a:extLst>
    <a:ext uri="{05A4C25C-085E-4340-85A3-A5531E510DB2}">
      <thm15:themeFamily xmlns:thm15="http://schemas.microsoft.com/office/thememl/2012/main" name="260113_UKCEH_Template_LB06" id="{4161CE28-D829-4D18-9F96-8C77126CFA36}" vid="{D082875B-3653-40C7-97E2-A1F99D267AC3}"/>
    </a:ext>
  </a:extLst>
</a:theme>
</file>

<file path=ppt/theme/theme3.xml><?xml version="1.0" encoding="utf-8"?>
<a:theme xmlns:a="http://schemas.openxmlformats.org/drawingml/2006/main" name="With Footnotes">
  <a:themeElements>
    <a:clrScheme name="UKCEH">
      <a:dk1>
        <a:sysClr val="windowText" lastClr="000000"/>
      </a:dk1>
      <a:lt1>
        <a:sysClr val="window" lastClr="FFFFFF"/>
      </a:lt1>
      <a:dk2>
        <a:srgbClr val="DBFE52"/>
      </a:dk2>
      <a:lt2>
        <a:srgbClr val="D6EAE6"/>
      </a:lt2>
      <a:accent1>
        <a:srgbClr val="90A968"/>
      </a:accent1>
      <a:accent2>
        <a:srgbClr val="477AE2"/>
      </a:accent2>
      <a:accent3>
        <a:srgbClr val="EBDBD5"/>
      </a:accent3>
      <a:accent4>
        <a:srgbClr val="D1DEF8"/>
      </a:accent4>
      <a:accent5>
        <a:srgbClr val="D3DDC3"/>
      </a:accent5>
      <a:accent6>
        <a:srgbClr val="878787"/>
      </a:accent6>
      <a:hlink>
        <a:srgbClr val="90A968"/>
      </a:hlink>
      <a:folHlink>
        <a:srgbClr val="477AE2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DR Light Cyan 1">
      <a:srgbClr val="99F5FD"/>
    </a:custClr>
    <a:custClr name="DR Light Violet">
      <a:srgbClr val="C999F7"/>
    </a:custClr>
    <a:custClr name="DR Light Amber">
      <a:srgbClr val="FEEC99"/>
    </a:custClr>
    <a:custClr name="DR Light Green">
      <a:srgbClr val="99EFCB"/>
    </a:custClr>
    <a:custClr name="DR Light Blue">
      <a:srgbClr val="8AAEFF"/>
    </a:custClr>
    <a:custClr name="DR Light Slate Grey">
      <a:srgbClr val="9AB5B9"/>
    </a:custClr>
    <a:custClr name="DR Light Grey">
      <a:srgbClr val="C7C8CA"/>
    </a:custClr>
    <a:custClr name="DR Mid Grey">
      <a:srgbClr val="808080"/>
    </a:custClr>
  </a:custClrLst>
  <a:extLst>
    <a:ext uri="{05A4C25C-085E-4340-85A3-A5531E510DB2}">
      <thm15:themeFamily xmlns:thm15="http://schemas.microsoft.com/office/thememl/2012/main" name="260113_UKCEH_Template_LB06" id="{4161CE28-D829-4D18-9F96-8C77126CFA36}" vid="{B81F6FDB-21B7-4B05-9263-433B3E8C58E1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8BE1AAAF81E245A3A403608573A08A" ma:contentTypeVersion="13" ma:contentTypeDescription="Create a new document." ma:contentTypeScope="" ma:versionID="822e8ab276dee9f0e588e02223ecfbe3">
  <xsd:schema xmlns:xsd="http://www.w3.org/2001/XMLSchema" xmlns:xs="http://www.w3.org/2001/XMLSchema" xmlns:p="http://schemas.microsoft.com/office/2006/metadata/properties" xmlns:ns2="8045f077-17b9-47d6-a71c-2c2b83e25129" xmlns:ns3="8fe787a5-7476-4b36-a333-c20c98769fb2" targetNamespace="http://schemas.microsoft.com/office/2006/metadata/properties" ma:root="true" ma:fieldsID="3224a575786604f00be9e91cb5b4621b" ns2:_="" ns3:_="">
    <xsd:import namespace="8045f077-17b9-47d6-a71c-2c2b83e25129"/>
    <xsd:import namespace="8fe787a5-7476-4b36-a333-c20c98769f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45f077-17b9-47d6-a71c-2c2b83e251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c3ea2160-29c6-45a3-9bc6-8bc28cb0899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e787a5-7476-4b36-a333-c20c98769fb2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5be0202f-bae7-4c2f-9a15-7e8c6810c885}" ma:internalName="TaxCatchAll" ma:showField="CatchAllData" ma:web="2f592954-ea5c-4e18-9f23-4cc55620aca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fe787a5-7476-4b36-a333-c20c98769fb2" xsi:nil="true"/>
    <lcf76f155ced4ddcb4097134ff3c332f xmlns="8045f077-17b9-47d6-a71c-2c2b83e25129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A28A8C05-2E78-47B0-8F2D-2858FB2AC23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9E98BBA-7F34-4197-88C2-031B7DC35ED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045f077-17b9-47d6-a71c-2c2b83e25129"/>
    <ds:schemaRef ds:uri="8fe787a5-7476-4b36-a333-c20c98769f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4FFA500-119D-4151-BEEB-D8D9A346A3C4}">
  <ds:schemaRefs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8fe787a5-7476-4b36-a333-c20c98769fb2"/>
    <ds:schemaRef ds:uri="http://schemas.microsoft.com/office/2006/documentManagement/types"/>
    <ds:schemaRef ds:uri="http://schemas.microsoft.com/office/2006/metadata/properties"/>
    <ds:schemaRef ds:uri="http://purl.org/dc/terms/"/>
    <ds:schemaRef ds:uri="8045f077-17b9-47d6-a71c-2c2b83e25129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KCEH PowerPoint Template</Template>
  <TotalTime>1888</TotalTime>
  <Words>1406</Words>
  <Application>Microsoft Office PowerPoint</Application>
  <PresentationFormat>Widescreen</PresentationFormat>
  <Paragraphs>305</Paragraphs>
  <Slides>2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20</vt:i4>
      </vt:variant>
    </vt:vector>
  </HeadingPairs>
  <TitlesOfParts>
    <vt:vector size="30" baseType="lpstr">
      <vt:lpstr>Wingdings</vt:lpstr>
      <vt:lpstr>Arial</vt:lpstr>
      <vt:lpstr>Calibri</vt:lpstr>
      <vt:lpstr>UKCEH Suisse Medium</vt:lpstr>
      <vt:lpstr>Trebuchet MS</vt:lpstr>
      <vt:lpstr>UKCEH Suisse Semibold</vt:lpstr>
      <vt:lpstr>UKCEH Suisse</vt:lpstr>
      <vt:lpstr>Office Theme</vt:lpstr>
      <vt:lpstr>+Partner Logos</vt:lpstr>
      <vt:lpstr>With Footnotes</vt:lpstr>
      <vt:lpstr>PowerPoint Presentation</vt:lpstr>
      <vt:lpstr>Why Visit UK-Flow15?</vt:lpstr>
      <vt:lpstr>PowerPoint Presentation</vt:lpstr>
      <vt:lpstr>Why build a 15-min dataset?</vt:lpstr>
      <vt:lpstr>How Long did it take?</vt:lpstr>
      <vt:lpstr>Dataset coverage</vt:lpstr>
      <vt:lpstr>Dataset structure</vt:lpstr>
      <vt:lpstr>Visual Quality Control</vt:lpstr>
      <vt:lpstr>Statistical Quality Control</vt:lpstr>
      <vt:lpstr>Planned Updates</vt:lpstr>
      <vt:lpstr>Data suitability</vt:lpstr>
      <vt:lpstr>Artefact removal</vt:lpstr>
      <vt:lpstr>Hydrological modelling example</vt:lpstr>
      <vt:lpstr>Event study example</vt:lpstr>
      <vt:lpstr>Extremes study example</vt:lpstr>
      <vt:lpstr>Access to high-res data matters!</vt:lpstr>
      <vt:lpstr>Real-world impact of the data</vt:lpstr>
      <vt:lpstr>Summary on how we built the dataset</vt:lpstr>
      <vt:lpstr>Summary on how to use the dataset</vt:lpstr>
      <vt:lpstr>Summary on the applicability of the datase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elipe Fileni</dc:creator>
  <cp:lastModifiedBy>Felipe Fileni</cp:lastModifiedBy>
  <cp:revision>2</cp:revision>
  <dcterms:created xsi:type="dcterms:W3CDTF">2026-04-29T15:26:35Z</dcterms:created>
  <dcterms:modified xsi:type="dcterms:W3CDTF">2026-05-01T15:4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8BE1AAAF81E245A3A403608573A08A</vt:lpwstr>
  </property>
  <property fmtid="{D5CDD505-2E9C-101B-9397-08002B2CF9AE}" pid="3" name="MediaServiceImageTags">
    <vt:lpwstr/>
  </property>
  <property fmtid="{D5CDD505-2E9C-101B-9397-08002B2CF9AE}" pid="4" name="NXPowerLiteLastOptimized">
    <vt:lpwstr>3241497</vt:lpwstr>
  </property>
  <property fmtid="{D5CDD505-2E9C-101B-9397-08002B2CF9AE}" pid="5" name="NXPowerLiteSettings">
    <vt:lpwstr>F70005D002A000</vt:lpwstr>
  </property>
  <property fmtid="{D5CDD505-2E9C-101B-9397-08002B2CF9AE}" pid="6" name="NXPowerLiteVersion">
    <vt:lpwstr>D10.3.2</vt:lpwstr>
  </property>
</Properties>
</file>